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svg" ContentType="image/svg+xml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xlsx" ContentType="application/vnd.openxmlformats-officedocument.spreadsheetml.sheet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slides/slide18.xml" ContentType="application/vnd.openxmlformats-officedocument.presentationml.slide+xml"/>
  <Override PartName="/ppt/slides/slide19.xml" ContentType="application/vnd.openxmlformats-officedocument.presentationml.slide+xml"/>
  <Override PartName="/ppt/slides/slide20.xml" ContentType="application/vnd.openxmlformats-officedocument.presentationml.slide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charts/chart1.xml" ContentType="application/vnd.openxmlformats-officedocument.drawingml.chart+xml"/>
  <Override PartName="/ppt/charts/style1.xml" ContentType="application/vnd.ms-office.chartstyle+xml"/>
  <Override PartName="/ppt/charts/colors1.xml" ContentType="application/vnd.ms-office.chartcolorstyle+xml"/>
  <Override PartName="/ppt/charts/chart2.xml" ContentType="application/vnd.openxmlformats-officedocument.drawingml.chart+xml"/>
  <Override PartName="/ppt/charts/style2.xml" ContentType="application/vnd.ms-office.chartstyle+xml"/>
  <Override PartName="/ppt/charts/colors2.xml" ContentType="application/vnd.ms-office.chartcolorstyle+xml"/>
  <Override PartName="/ppt/charts/chart3.xml" ContentType="application/vnd.openxmlformats-officedocument.drawingml.chart+xml"/>
  <Override PartName="/ppt/charts/style3.xml" ContentType="application/vnd.ms-office.chartstyle+xml"/>
  <Override PartName="/ppt/charts/colors3.xml" ContentType="application/vnd.ms-office.chartcolorstyle+xml"/>
  <Override PartName="/ppt/tags/tag20.xml" ContentType="application/vnd.openxmlformats-officedocument.presentationml.tags+xml"/>
  <Override PartName="/ppt/charts/chart4.xml" ContentType="application/vnd.openxmlformats-officedocument.drawingml.chart+xml"/>
  <Override PartName="/ppt/charts/style4.xml" ContentType="application/vnd.ms-office.chartstyle+xml"/>
  <Override PartName="/ppt/charts/colors4.xml" ContentType="application/vnd.ms-office.chartcolorstyle+xml"/>
  <Override PartName="/ppt/charts/chart5.xml" ContentType="application/vnd.openxmlformats-officedocument.drawingml.chart+xml"/>
  <Override PartName="/ppt/charts/style5.xml" ContentType="application/vnd.ms-office.chartstyle+xml"/>
  <Override PartName="/ppt/charts/colors5.xml" ContentType="application/vnd.ms-office.chartcolorstyle+xml"/>
  <Override PartName="/ppt/charts/chart6.xml" ContentType="application/vnd.openxmlformats-officedocument.drawingml.chart+xml"/>
  <Override PartName="/ppt/charts/style6.xml" ContentType="application/vnd.ms-office.chartstyle+xml"/>
  <Override PartName="/ppt/charts/colors6.xml" ContentType="application/vnd.ms-office.chartcolorstyle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48" r:id="rId1"/>
  </p:sldMasterIdLst>
  <p:sldIdLst>
    <p:sldId id="256" r:id="rId2"/>
    <p:sldId id="274" r:id="rId3"/>
    <p:sldId id="275" r:id="rId4"/>
    <p:sldId id="276" r:id="rId5"/>
    <p:sldId id="277" r:id="rId6"/>
    <p:sldId id="278" r:id="rId7"/>
    <p:sldId id="279" r:id="rId8"/>
    <p:sldId id="280" r:id="rId9"/>
    <p:sldId id="281" r:id="rId10"/>
    <p:sldId id="282" r:id="rId11"/>
    <p:sldId id="283" r:id="rId12"/>
    <p:sldId id="285" r:id="rId13"/>
    <p:sldId id="295" r:id="rId14"/>
    <p:sldId id="287" r:id="rId15"/>
    <p:sldId id="288" r:id="rId16"/>
    <p:sldId id="289" r:id="rId17"/>
    <p:sldId id="291" r:id="rId18"/>
    <p:sldId id="292" r:id="rId19"/>
    <p:sldId id="293" r:id="rId20"/>
    <p:sldId id="294" r:id="rId21"/>
  </p:sldIdLst>
  <p:sldSz cx="12192000" cy="6858000"/>
  <p:notesSz cx="6858000" cy="9144000"/>
  <p:custDataLst>
    <p:tags r:id="rId22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3792" userDrawn="1">
          <p15:clr>
            <a:srgbClr val="A4A3A4"/>
          </p15:clr>
        </p15:guide>
        <p15:guide id="2" pos="3840" userDrawn="1">
          <p15:clr>
            <a:srgbClr val="A4A3A4"/>
          </p15:clr>
        </p15:guide>
        <p15:guide id="3" pos="240" userDrawn="1">
          <p15:clr>
            <a:srgbClr val="A4A3A4"/>
          </p15:clr>
        </p15:guide>
        <p15:guide id="4" pos="7440" userDrawn="1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B5317D"/>
    <a:srgbClr val="FFFFFF"/>
    <a:srgbClr val="6366AB"/>
    <a:srgbClr val="A7AAD1"/>
    <a:srgbClr val="8387BF"/>
    <a:srgbClr val="DEDFEE"/>
    <a:srgbClr val="686BAE"/>
    <a:srgbClr val="D4D5E8"/>
    <a:srgbClr val="CD92BB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621" autoAdjust="0"/>
    <p:restoredTop sz="94690" autoAdjust="0"/>
  </p:normalViewPr>
  <p:slideViewPr>
    <p:cSldViewPr snapToGrid="0" snapToObjects="1">
      <p:cViewPr varScale="1">
        <p:scale>
          <a:sx n="82" d="100"/>
          <a:sy n="82" d="100"/>
        </p:scale>
        <p:origin x="691" y="62"/>
      </p:cViewPr>
      <p:guideLst>
        <p:guide orient="horz" pos="3792"/>
        <p:guide pos="3840"/>
        <p:guide pos="240"/>
        <p:guide pos="74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00" d="100"/>
        <a:sy n="100" d="100"/>
      </p:scale>
      <p:origin x="0" y="0"/>
    </p:cViewPr>
  </p:notesTextViewPr>
  <p:sorterViewPr>
    <p:cViewPr>
      <p:scale>
        <a:sx n="100" d="100"/>
        <a:sy n="100" d="100"/>
      </p:scale>
      <p:origin x="0" y="0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7.xml"/><Relationship Id="rId13" Type="http://schemas.openxmlformats.org/officeDocument/2006/relationships/slide" Target="slides/slide12.xml"/><Relationship Id="rId18" Type="http://schemas.openxmlformats.org/officeDocument/2006/relationships/slide" Target="slides/slide17.xml"/><Relationship Id="rId26" Type="http://schemas.openxmlformats.org/officeDocument/2006/relationships/tableStyles" Target="tableStyles.xml"/><Relationship Id="rId3" Type="http://schemas.openxmlformats.org/officeDocument/2006/relationships/slide" Target="slides/slide2.xml"/><Relationship Id="rId21" Type="http://schemas.openxmlformats.org/officeDocument/2006/relationships/slide" Target="slides/slide20.xml"/><Relationship Id="rId7" Type="http://schemas.openxmlformats.org/officeDocument/2006/relationships/slide" Target="slides/slide6.xml"/><Relationship Id="rId12" Type="http://schemas.openxmlformats.org/officeDocument/2006/relationships/slide" Target="slides/slide11.xml"/><Relationship Id="rId17" Type="http://schemas.openxmlformats.org/officeDocument/2006/relationships/slide" Target="slides/slide16.xml"/><Relationship Id="rId25" Type="http://schemas.openxmlformats.org/officeDocument/2006/relationships/theme" Target="theme/theme1.xml"/><Relationship Id="rId2" Type="http://schemas.openxmlformats.org/officeDocument/2006/relationships/slide" Target="slides/slide1.xml"/><Relationship Id="rId16" Type="http://schemas.openxmlformats.org/officeDocument/2006/relationships/slide" Target="slides/slide15.xml"/><Relationship Id="rId20" Type="http://schemas.openxmlformats.org/officeDocument/2006/relationships/slide" Target="slides/slide19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5.xml"/><Relationship Id="rId11" Type="http://schemas.openxmlformats.org/officeDocument/2006/relationships/slide" Target="slides/slide10.xml"/><Relationship Id="rId24" Type="http://schemas.openxmlformats.org/officeDocument/2006/relationships/viewProps" Target="viewProps.xml"/><Relationship Id="rId5" Type="http://schemas.openxmlformats.org/officeDocument/2006/relationships/slide" Target="slides/slide4.xml"/><Relationship Id="rId15" Type="http://schemas.openxmlformats.org/officeDocument/2006/relationships/slide" Target="slides/slide14.xml"/><Relationship Id="rId23" Type="http://schemas.openxmlformats.org/officeDocument/2006/relationships/presProps" Target="presProps.xml"/><Relationship Id="rId10" Type="http://schemas.openxmlformats.org/officeDocument/2006/relationships/slide" Target="slides/slide9.xml"/><Relationship Id="rId19" Type="http://schemas.openxmlformats.org/officeDocument/2006/relationships/slide" Target="slides/slide18.xml"/><Relationship Id="rId4" Type="http://schemas.openxmlformats.org/officeDocument/2006/relationships/slide" Target="slides/slide3.xml"/><Relationship Id="rId9" Type="http://schemas.openxmlformats.org/officeDocument/2006/relationships/slide" Target="slides/slide8.xml"/><Relationship Id="rId14" Type="http://schemas.openxmlformats.org/officeDocument/2006/relationships/slide" Target="slides/slide13.xml"/><Relationship Id="rId22" Type="http://schemas.openxmlformats.org/officeDocument/2006/relationships/tags" Target="tags/tag1.xml"/></Relationships>
</file>

<file path=ppt/charts/_rels/chart1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.xlsx"/><Relationship Id="rId2" Type="http://schemas.microsoft.com/office/2011/relationships/chartColorStyle" Target="colors1.xml"/><Relationship Id="rId1" Type="http://schemas.microsoft.com/office/2011/relationships/chartStyle" Target="style1.xml"/></Relationships>
</file>

<file path=ppt/charts/_rels/chart2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1.xlsx"/><Relationship Id="rId2" Type="http://schemas.microsoft.com/office/2011/relationships/chartColorStyle" Target="colors2.xml"/><Relationship Id="rId1" Type="http://schemas.microsoft.com/office/2011/relationships/chartStyle" Target="style2.xml"/></Relationships>
</file>

<file path=ppt/charts/_rels/chart3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2.xlsx"/><Relationship Id="rId2" Type="http://schemas.microsoft.com/office/2011/relationships/chartColorStyle" Target="colors3.xml"/><Relationship Id="rId1" Type="http://schemas.microsoft.com/office/2011/relationships/chartStyle" Target="style3.xml"/></Relationships>
</file>

<file path=ppt/charts/_rels/chart4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3.xlsx"/><Relationship Id="rId2" Type="http://schemas.microsoft.com/office/2011/relationships/chartColorStyle" Target="colors4.xml"/><Relationship Id="rId1" Type="http://schemas.microsoft.com/office/2011/relationships/chartStyle" Target="style4.xml"/></Relationships>
</file>

<file path=ppt/charts/_rels/chart5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4.xlsx"/><Relationship Id="rId2" Type="http://schemas.microsoft.com/office/2011/relationships/chartColorStyle" Target="colors5.xml"/><Relationship Id="rId1" Type="http://schemas.microsoft.com/office/2011/relationships/chartStyle" Target="style5.xml"/></Relationships>
</file>

<file path=ppt/charts/_rels/chart6.xml.rels><?xml version="1.0" encoding="UTF-8" standalone="yes"?>
<Relationships xmlns="http://schemas.openxmlformats.org/package/2006/relationships"><Relationship Id="rId3" Type="http://schemas.openxmlformats.org/officeDocument/2006/relationships/package" Target="../embeddings/Microsoft_Excel_Worksheet5.xlsx"/><Relationship Id="rId2" Type="http://schemas.microsoft.com/office/2011/relationships/chartColorStyle" Target="colors6.xml"/><Relationship Id="rId1" Type="http://schemas.microsoft.com/office/2011/relationships/chartStyle" Target="style6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B5317D"/>
            </a:solidFill>
          </c:spPr>
          <c:dPt>
            <c:idx val="0"/>
            <c:bubble3D val="0"/>
            <c:spPr>
              <a:solidFill>
                <a:srgbClr val="B5317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000-4897-B8A7-DC09AF84F095}"/>
              </c:ext>
            </c:extLst>
          </c:dPt>
          <c:dPt>
            <c:idx val="1"/>
            <c:bubble3D val="0"/>
            <c:spPr>
              <a:solidFill>
                <a:srgbClr val="DEDFE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000-4897-B8A7-DC09AF84F09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000-4897-B8A7-DC09AF84F0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B5317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000-4897-B8A7-DC09AF84F095}"/>
              </c:ext>
            </c:extLst>
          </c:dPt>
          <c:dPt>
            <c:idx val="1"/>
            <c:bubble3D val="0"/>
            <c:spPr>
              <a:solidFill>
                <a:srgbClr val="DEDFE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000-4897-B8A7-DC09AF84F09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0</c:v>
                </c:pt>
                <c:pt idx="1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000-4897-B8A7-DC09AF84F0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B5317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000-4897-B8A7-DC09AF84F095}"/>
              </c:ext>
            </c:extLst>
          </c:dPt>
          <c:dPt>
            <c:idx val="1"/>
            <c:bubble3D val="0"/>
            <c:spPr>
              <a:solidFill>
                <a:srgbClr val="DEDFE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000-4897-B8A7-DC09AF84F09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000-4897-B8A7-DC09AF84F0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solidFill>
              <a:srgbClr val="B5317D"/>
            </a:solidFill>
          </c:spPr>
          <c:dPt>
            <c:idx val="0"/>
            <c:bubble3D val="0"/>
            <c:spPr>
              <a:solidFill>
                <a:srgbClr val="B5317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000-4897-B8A7-DC09AF84F095}"/>
              </c:ext>
            </c:extLst>
          </c:dPt>
          <c:dPt>
            <c:idx val="1"/>
            <c:bubble3D val="0"/>
            <c:spPr>
              <a:solidFill>
                <a:srgbClr val="DEDFE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000-4897-B8A7-DC09AF84F09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50</c:v>
                </c:pt>
                <c:pt idx="1">
                  <c:v>5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000-4897-B8A7-DC09AF84F0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5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B5317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000-4897-B8A7-DC09AF84F095}"/>
              </c:ext>
            </c:extLst>
          </c:dPt>
          <c:dPt>
            <c:idx val="1"/>
            <c:bubble3D val="0"/>
            <c:spPr>
              <a:solidFill>
                <a:srgbClr val="DEDFE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000-4897-B8A7-DC09AF84F09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30</c:v>
                </c:pt>
                <c:pt idx="1">
                  <c:v>7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000-4897-B8A7-DC09AF84F0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hart6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pie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dPt>
            <c:idx val="0"/>
            <c:bubble3D val="0"/>
            <c:spPr>
              <a:solidFill>
                <a:srgbClr val="B5317D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1-1000-4897-B8A7-DC09AF84F095}"/>
              </c:ext>
            </c:extLst>
          </c:dPt>
          <c:dPt>
            <c:idx val="1"/>
            <c:bubble3D val="0"/>
            <c:spPr>
              <a:solidFill>
                <a:srgbClr val="DEDFEE"/>
              </a:solidFill>
              <a:ln w="19050">
                <a:solidFill>
                  <a:schemeClr val="lt1"/>
                </a:solidFill>
              </a:ln>
              <a:effectLst/>
            </c:spPr>
            <c:extLst>
              <c:ext xmlns:c16="http://schemas.microsoft.com/office/drawing/2014/chart" uri="{C3380CC4-5D6E-409C-BE32-E72D297353CC}">
                <c16:uniqueId val="{00000003-1000-4897-B8A7-DC09AF84F095}"/>
              </c:ext>
            </c:extLst>
          </c:dPt>
          <c:cat>
            <c:strRef>
              <c:f>Sheet1!$A$2:$A$3</c:f>
              <c:strCache>
                <c:ptCount val="2"/>
                <c:pt idx="0">
                  <c:v>1st Qtr</c:v>
                </c:pt>
                <c:pt idx="1">
                  <c:v>2nd Qtr</c:v>
                </c:pt>
              </c:strCache>
            </c:strRef>
          </c:cat>
          <c:val>
            <c:numRef>
              <c:f>Sheet1!$B$2:$B$3</c:f>
              <c:numCache>
                <c:formatCode>General</c:formatCode>
                <c:ptCount val="2"/>
                <c:pt idx="0">
                  <c:v>20</c:v>
                </c:pt>
                <c:pt idx="1">
                  <c:v>80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1000-4897-B8A7-DC09AF84F095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0"/>
      </c:pieChart>
      <c:spPr>
        <a:noFill/>
        <a:ln w="25400">
          <a:noFill/>
        </a:ln>
        <a:effectLst/>
      </c:spPr>
    </c:plotArea>
    <c:plotVisOnly val="1"/>
    <c:dispBlanksAs val="gap"/>
    <c:showDLblsOverMax val="0"/>
    <c:extLst>
      <c:ext xmlns:c16r3="http://schemas.microsoft.com/office/drawing/2017/03/chart" uri="{56B9EC1D-385E-4148-901F-78D8002777C0}">
        <c16r3:dataDisplayOptions16>
          <c16r3:dispNaAsBlank val="1"/>
        </c16r3:dataDisplayOptions16>
      </c:ext>
    </c:extLst>
  </c:chart>
  <c:spPr>
    <a:noFill/>
    <a:ln>
      <a:noFill/>
    </a:ln>
    <a:effectLst/>
  </c:spPr>
  <c:txPr>
    <a:bodyPr/>
    <a:lstStyle/>
    <a:p>
      <a:pPr>
        <a:defRPr/>
      </a:pPr>
      <a:endParaRPr lang="en-US"/>
    </a:p>
  </c:txPr>
  <c:externalData r:id="rId3">
    <c:autoUpdate val="0"/>
  </c:externalData>
</c:chartSpace>
</file>

<file path=ppt/charts/colors1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2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3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4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5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colors6.xml><?xml version="1.0" encoding="utf-8"?>
<cs:colorStyle xmlns:cs="http://schemas.microsoft.com/office/drawing/2012/chartStyle" xmlns:a="http://schemas.openxmlformats.org/drawingml/2006/main" meth="cycle" id="10">
  <a:schemeClr val="accent1"/>
  <a:schemeClr val="accent2"/>
  <a:schemeClr val="accent3"/>
  <a:schemeClr val="accent4"/>
  <a:schemeClr val="accent5"/>
  <a:schemeClr val="accent6"/>
  <cs:variation/>
  <cs:variation>
    <a:lumMod val="60000"/>
  </cs:variation>
  <cs:variation>
    <a:lumMod val="80000"/>
    <a:lumOff val="20000"/>
  </cs:variation>
  <cs:variation>
    <a:lumMod val="80000"/>
  </cs:variation>
  <cs:variation>
    <a:lumMod val="60000"/>
    <a:lumOff val="40000"/>
  </cs:variation>
  <cs:variation>
    <a:lumMod val="50000"/>
  </cs:variation>
  <cs:variation>
    <a:lumMod val="70000"/>
    <a:lumOff val="30000"/>
  </cs:variation>
  <cs:variation>
    <a:lumMod val="70000"/>
  </cs:variation>
  <cs:variation>
    <a:lumMod val="50000"/>
    <a:lumOff val="50000"/>
  </cs:variation>
</cs:colorStyle>
</file>

<file path=ppt/charts/style1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2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3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4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5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charts/style6.xml><?xml version="1.0" encoding="utf-8"?>
<cs:chartStyle xmlns:cs="http://schemas.microsoft.com/office/drawing/2012/chartStyle" xmlns:a="http://schemas.openxmlformats.org/drawingml/2006/main" id="251">
  <cs:axisTitle>
    <cs:lnRef idx="0"/>
    <cs:fillRef idx="0"/>
    <cs:effectRef idx="0"/>
    <cs:fontRef idx="minor">
      <a:schemeClr val="tx1">
        <a:lumMod val="65000"/>
        <a:lumOff val="35000"/>
      </a:schemeClr>
    </cs:fontRef>
    <cs:defRPr sz="1330" kern="1200"/>
  </cs:axisTitle>
  <cs:categoryAxis>
    <cs:lnRef idx="0"/>
    <cs:fillRef idx="0"/>
    <cs:effectRef idx="0"/>
    <cs:fontRef idx="minor">
      <a:schemeClr val="tx1">
        <a:lumMod val="65000"/>
        <a:lumOff val="35000"/>
      </a:schemeClr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ategoryAxis>
  <cs:chartArea mods="allowNoFillOverride allowNoLineOverride">
    <cs:lnRef idx="0"/>
    <cs:fillRef idx="0"/>
    <cs:effectRef idx="0"/>
    <cs:fontRef idx="minor">
      <a:schemeClr val="tx1"/>
    </cs:fontRef>
    <cs:spPr>
      <a:solidFill>
        <a:schemeClr val="bg1"/>
      </a:solidFill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chartArea>
  <cs:dataLabel>
    <cs:lnRef idx="0"/>
    <cs:fillRef idx="0"/>
    <cs:effectRef idx="0"/>
    <cs:fontRef idx="minor">
      <a:schemeClr val="tx1">
        <a:lumMod val="75000"/>
        <a:lumOff val="25000"/>
      </a:schemeClr>
    </cs:fontRef>
    <cs:defRPr sz="1197" kern="1200"/>
  </cs:dataLabel>
  <cs:dataLabelCallout>
    <cs:lnRef idx="0"/>
    <cs:fillRef idx="0"/>
    <cs:effectRef idx="0"/>
    <cs:fontRef idx="minor">
      <a:schemeClr val="dk1">
        <a:lumMod val="65000"/>
        <a:lumOff val="35000"/>
      </a:schemeClr>
    </cs:fontRef>
    <cs:spPr>
      <a:solidFill>
        <a:schemeClr val="lt1"/>
      </a:solidFill>
      <a:ln>
        <a:solidFill>
          <a:schemeClr val="dk1">
            <a:lumMod val="25000"/>
            <a:lumOff val="75000"/>
          </a:schemeClr>
        </a:solidFill>
      </a:ln>
    </cs:spPr>
    <cs:defRPr sz="1197" kern="1200"/>
    <cs:bodyPr rot="0" spcFirstLastPara="1" vertOverflow="clip" horzOverflow="clip" vert="horz" wrap="square" lIns="36576" tIns="18288" rIns="36576" bIns="18288" anchor="ctr" anchorCtr="1">
      <a:spAutoFit/>
    </cs:bodyPr>
  </cs:dataLabelCallout>
  <cs:dataPoint>
    <cs:lnRef idx="0"/>
    <cs:fillRef idx="1">
      <cs:styleClr val="auto"/>
    </cs:fillRef>
    <cs:effectRef idx="0"/>
    <cs:fontRef idx="minor">
      <a:schemeClr val="tx1"/>
    </cs:fontRef>
    <cs:spPr>
      <a:ln w="19050">
        <a:solidFill>
          <a:schemeClr val="lt1"/>
        </a:solidFill>
      </a:ln>
    </cs:spPr>
  </cs:dataPoint>
  <cs:dataPoint3D>
    <cs:lnRef idx="0"/>
    <cs:fillRef idx="1">
      <cs:styleClr val="auto"/>
    </cs:fillRef>
    <cs:effectRef idx="0"/>
    <cs:fontRef idx="minor">
      <a:schemeClr val="tx1"/>
    </cs:fontRef>
    <cs:spPr>
      <a:ln w="25400">
        <a:solidFill>
          <a:schemeClr val="lt1"/>
        </a:solidFill>
      </a:ln>
    </cs:spPr>
  </cs:dataPoint3D>
  <cs:dataPointLine>
    <cs:lnRef idx="0">
      <cs:styleClr val="auto"/>
    </cs:lnRef>
    <cs:fillRef idx="0"/>
    <cs:effectRef idx="0"/>
    <cs:fontRef idx="minor">
      <a:schemeClr val="tx1"/>
    </cs:fontRef>
    <cs:spPr>
      <a:ln w="28575" cap="rnd">
        <a:solidFill>
          <a:schemeClr val="phClr"/>
        </a:solidFill>
        <a:round/>
      </a:ln>
    </cs:spPr>
  </cs:dataPointLine>
  <cs:dataPointMarker>
    <cs:lnRef idx="0">
      <cs:styleClr val="auto"/>
    </cs:lnRef>
    <cs:fillRef idx="1">
      <cs:styleClr val="auto"/>
    </cs:fillRef>
    <cs:effectRef idx="0"/>
    <cs:fontRef idx="minor">
      <a:schemeClr val="tx1"/>
    </cs:fontRef>
    <cs:spPr>
      <a:ln w="9525">
        <a:solidFill>
          <a:schemeClr val="phClr"/>
        </a:solidFill>
      </a:ln>
    </cs:spPr>
  </cs:dataPointMarker>
  <cs:dataPointMarkerLayout symbol="circle" size="5"/>
  <cs:dataPointWireframe>
    <cs:lnRef idx="0">
      <cs:styleClr val="auto"/>
    </cs:lnRef>
    <cs:fillRef idx="0"/>
    <cs:effectRef idx="0"/>
    <cs:fontRef idx="minor">
      <a:schemeClr val="tx1"/>
    </cs:fontRef>
    <cs:spPr>
      <a:ln w="9525" cap="rnd">
        <a:solidFill>
          <a:schemeClr val="phClr"/>
        </a:solidFill>
        <a:round/>
      </a:ln>
    </cs:spPr>
  </cs:dataPointWireframe>
  <cs:dataTable>
    <cs:lnRef idx="0"/>
    <cs:fillRef idx="0"/>
    <cs:effectRef idx="0"/>
    <cs:fontRef idx="minor">
      <a:schemeClr val="tx1">
        <a:lumMod val="65000"/>
        <a:lumOff val="35000"/>
      </a:schemeClr>
    </cs:fontRef>
    <cs:spPr>
      <a:noFill/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  <cs:defRPr sz="1197" kern="1200"/>
  </cs:dataTable>
  <cs:downBar>
    <cs:lnRef idx="0"/>
    <cs:fillRef idx="0"/>
    <cs:effectRef idx="0"/>
    <cs:fontRef idx="minor">
      <a:schemeClr val="tx1"/>
    </cs:fontRef>
    <cs:spPr>
      <a:solidFill>
        <a:schemeClr val="dk1">
          <a:lumMod val="75000"/>
          <a:lumOff val="25000"/>
        </a:schemeClr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downBar>
  <cs:drop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dropLine>
  <cs:errorBa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errorBar>
  <cs:floor>
    <cs:lnRef idx="0"/>
    <cs:fillRef idx="0"/>
    <cs:effectRef idx="0"/>
    <cs:fontRef idx="minor">
      <a:schemeClr val="tx1"/>
    </cs:fontRef>
    <cs:spPr>
      <a:noFill/>
      <a:ln>
        <a:noFill/>
      </a:ln>
    </cs:spPr>
  </cs:floor>
  <cs:gridlineMaj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15000"/>
            <a:lumOff val="85000"/>
          </a:schemeClr>
        </a:solidFill>
        <a:round/>
      </a:ln>
    </cs:spPr>
  </cs:gridlineMajor>
  <cs:gridlineMinor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"/>
            <a:lumOff val="95000"/>
          </a:schemeClr>
        </a:solidFill>
        <a:round/>
      </a:ln>
    </cs:spPr>
  </cs:gridlineMinor>
  <cs:hiLo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50000"/>
            <a:lumOff val="50000"/>
          </a:schemeClr>
        </a:solidFill>
        <a:round/>
      </a:ln>
    </cs:spPr>
  </cs:hiLoLine>
  <cs:leader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leaderLine>
  <cs:legend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legend>
  <cs:plotArea mods="allowNoFillOverride allowNoLineOverride">
    <cs:lnRef idx="0"/>
    <cs:fillRef idx="0"/>
    <cs:effectRef idx="0"/>
    <cs:fontRef idx="minor">
      <a:schemeClr val="tx1"/>
    </cs:fontRef>
  </cs:plotArea>
  <cs:plotArea3D mods="allowNoFillOverride allowNoLineOverride">
    <cs:lnRef idx="0"/>
    <cs:fillRef idx="0"/>
    <cs:effectRef idx="0"/>
    <cs:fontRef idx="minor">
      <a:schemeClr val="tx1"/>
    </cs:fontRef>
  </cs:plotArea3D>
  <cs:series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seriesAxis>
  <cs:seriesLine>
    <cs:lnRef idx="0"/>
    <cs:fillRef idx="0"/>
    <cs:effectRef idx="0"/>
    <cs:fontRef idx="minor">
      <a:schemeClr val="tx1"/>
    </cs:fontRef>
    <cs:spPr>
      <a:ln w="9525" cap="flat" cmpd="sng" algn="ctr">
        <a:solidFill>
          <a:schemeClr val="tx1">
            <a:lumMod val="35000"/>
            <a:lumOff val="65000"/>
          </a:schemeClr>
        </a:solidFill>
        <a:round/>
      </a:ln>
    </cs:spPr>
  </cs:seriesLine>
  <cs:title>
    <cs:lnRef idx="0"/>
    <cs:fillRef idx="0"/>
    <cs:effectRef idx="0"/>
    <cs:fontRef idx="minor">
      <a:schemeClr val="tx1">
        <a:lumMod val="65000"/>
        <a:lumOff val="35000"/>
      </a:schemeClr>
    </cs:fontRef>
    <cs:defRPr sz="1862" b="0" kern="1200" spc="0" baseline="0"/>
  </cs:title>
  <cs:trendline>
    <cs:lnRef idx="0">
      <cs:styleClr val="auto"/>
    </cs:lnRef>
    <cs:fillRef idx="0"/>
    <cs:effectRef idx="0"/>
    <cs:fontRef idx="minor">
      <a:schemeClr val="tx1"/>
    </cs:fontRef>
    <cs:spPr>
      <a:ln w="19050" cap="rnd">
        <a:solidFill>
          <a:schemeClr val="phClr"/>
        </a:solidFill>
        <a:prstDash val="sysDot"/>
      </a:ln>
    </cs:spPr>
  </cs:trendline>
  <cs:trendlineLabel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trendlineLabel>
  <cs:upBar>
    <cs:lnRef idx="0"/>
    <cs:fillRef idx="0"/>
    <cs:effectRef idx="0"/>
    <cs:fontRef idx="minor">
      <a:schemeClr val="tx1"/>
    </cs:fontRef>
    <cs:spPr>
      <a:solidFill>
        <a:schemeClr val="lt1"/>
      </a:solidFill>
      <a:ln w="9525" cap="flat" cmpd="sng" algn="ctr">
        <a:solidFill>
          <a:schemeClr val="tx1">
            <a:lumMod val="65000"/>
            <a:lumOff val="35000"/>
          </a:schemeClr>
        </a:solidFill>
        <a:round/>
      </a:ln>
    </cs:spPr>
  </cs:upBar>
  <cs:valueAxis>
    <cs:lnRef idx="0"/>
    <cs:fillRef idx="0"/>
    <cs:effectRef idx="0"/>
    <cs:fontRef idx="minor">
      <a:schemeClr val="tx1">
        <a:lumMod val="65000"/>
        <a:lumOff val="35000"/>
      </a:schemeClr>
    </cs:fontRef>
    <cs:defRPr sz="1197" kern="1200"/>
  </cs:valueAxis>
  <cs:wall>
    <cs:lnRef idx="0"/>
    <cs:fillRef idx="0"/>
    <cs:effectRef idx="0"/>
    <cs:fontRef idx="minor">
      <a:schemeClr val="tx1"/>
    </cs:fontRef>
    <cs:spPr>
      <a:noFill/>
      <a:ln>
        <a:noFill/>
      </a:ln>
    </cs:spPr>
  </cs:wall>
</cs:chartStyl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02C64C53-B696-A978-EAF3-CFBB345FDCB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05022288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53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914400" y="2130426"/>
            <a:ext cx="10363200" cy="1470025"/>
          </a:xfrm>
          <a:prstGeom prst="rect">
            <a:avLst/>
          </a:prstGeom>
        </p:spPr>
        <p:txBody>
          <a:bodyPr vert="horz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1828800" y="3886200"/>
            <a:ext cx="8534400" cy="1752600"/>
          </a:xfrm>
        </p:spPr>
        <p:txBody>
          <a:bodyPr/>
          <a:lstStyle>
            <a:lvl1pPr marL="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6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168075583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50828"/>
            <a:ext cx="10972800" cy="1143000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6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910927964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839200" y="274639"/>
            <a:ext cx="2743200" cy="5851525"/>
          </a:xfrm>
          <a:prstGeom prst="rect">
            <a:avLst/>
          </a:prstGeom>
        </p:spPr>
        <p:txBody>
          <a:bodyPr vert="eaVert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09600" y="274639"/>
            <a:ext cx="8026400" cy="5851525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6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612223792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BB772587-7EDC-713F-A7CA-BA3BDE38311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5670118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6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517A7442-22DD-A486-A77C-FF34EC86136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09600" y="248547"/>
            <a:ext cx="10972800" cy="1143000"/>
          </a:xfrm>
          <a:prstGeom prst="rect">
            <a:avLst/>
          </a:prstGeom>
        </p:spPr>
        <p:txBody>
          <a:bodyPr vert="horz" wrap="none" lIns="0" tIns="0" rIns="0" bIns="0" anchor="ctr">
            <a:noAutofit/>
          </a:bodyPr>
          <a:lstStyle/>
          <a:p>
            <a:r>
              <a:rPr lang="en-US" dirty="0">
                <a:solidFill>
                  <a:schemeClr val="bg1"/>
                </a:solidFill>
              </a:rPr>
              <a:t>Introduction and Plan for the evening</a:t>
            </a:r>
          </a:p>
        </p:txBody>
      </p:sp>
    </p:spTree>
    <p:extLst>
      <p:ext uri="{BB962C8B-B14F-4D97-AF65-F5344CB8AC3E}">
        <p14:creationId xmlns:p14="http://schemas.microsoft.com/office/powerpoint/2010/main" val="2614314258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3F148849-974C-1960-FF67-A94396DFA9F3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72036189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01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963084" y="4406901"/>
            <a:ext cx="10363200" cy="1362075"/>
          </a:xfrm>
          <a:prstGeom prst="rect">
            <a:avLst/>
          </a:prstGeom>
        </p:spPr>
        <p:txBody>
          <a:bodyPr vert="horz" anchor="t"/>
          <a:lstStyle>
            <a:lvl1pPr algn="l">
              <a:defRPr sz="4000" b="1" cap="all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63084" y="2906713"/>
            <a:ext cx="10363200" cy="1500187"/>
          </a:xfrm>
        </p:spPr>
        <p:txBody>
          <a:bodyPr anchor="b"/>
          <a:lstStyle>
            <a:lvl1pPr marL="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6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60648375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5DCF6D4B-F958-27EF-4BB8-53EB13576EF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44343168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25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50828"/>
            <a:ext cx="10972800" cy="1143000"/>
          </a:xfrm>
          <a:prstGeom prst="rect">
            <a:avLst/>
          </a:prstGeom>
        </p:spPr>
        <p:txBody>
          <a:bodyPr vert="horz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09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197600" y="1600201"/>
            <a:ext cx="5384800" cy="4525963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6/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78224494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50828"/>
            <a:ext cx="10972800" cy="1143000"/>
          </a:xfrm>
          <a:prstGeom prst="rect">
            <a:avLst/>
          </a:prstGeo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535113"/>
            <a:ext cx="5386917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9600" y="2174875"/>
            <a:ext cx="5386917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193368" y="1535113"/>
            <a:ext cx="5389033" cy="63976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193368" y="2174875"/>
            <a:ext cx="5389033" cy="395128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6/1/2025</a:t>
            </a:fld>
            <a:endParaRPr lang="en-US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9015873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think-cell data - do not delete" hidden="1">
            <a:extLst>
              <a:ext uri="{FF2B5EF4-FFF2-40B4-BE49-F238E27FC236}">
                <a16:creationId xmlns:a16="http://schemas.microsoft.com/office/drawing/2014/main" id="{E2EC3C68-6C32-4244-E133-AFD9A50AA77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907698847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4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6/1/2025</a:t>
            </a:fld>
            <a:endParaRPr lang="en-US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25565B87-D852-2034-F899-971D7C033B2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09600" y="248547"/>
            <a:ext cx="10972800" cy="987428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>
            <a:lvl1pPr>
              <a:defRPr b="1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727027711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6/1/2025</a:t>
            </a:fld>
            <a:endParaRPr lang="en-US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212999818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1" y="273050"/>
            <a:ext cx="4011084" cy="1162050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766733" y="273051"/>
            <a:ext cx="6815667" cy="5853113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09601" y="1435101"/>
            <a:ext cx="4011084" cy="4691063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6/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84072656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389717" y="4800600"/>
            <a:ext cx="7315200" cy="566738"/>
          </a:xfrm>
          <a:prstGeom prst="rect">
            <a:avLst/>
          </a:prstGeom>
        </p:spPr>
        <p:txBody>
          <a:bodyPr anchor="b"/>
          <a:lstStyle>
            <a:lvl1pPr algn="l">
              <a:defRPr sz="2000" b="1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/>
          <p:cNvSpPr>
            <a:spLocks noGrp="1"/>
          </p:cNvSpPr>
          <p:nvPr>
            <p:ph type="pic" idx="1"/>
          </p:nvPr>
        </p:nvSpPr>
        <p:spPr>
          <a:xfrm>
            <a:off x="2389717" y="612775"/>
            <a:ext cx="7315200" cy="4114800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2389717" y="5367338"/>
            <a:ext cx="7315200" cy="804862"/>
          </a:xfrm>
        </p:spPr>
        <p:txBody>
          <a:bodyPr/>
          <a:lstStyle>
            <a:lvl1pPr marL="0" indent="0">
              <a:buNone/>
              <a:defRPr sz="14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BCAD085-E8A6-8845-BD4E-CB4CCA059FC4}" type="datetimeFigureOut">
              <a:rPr lang="en-US" smtClean="0"/>
              <a:t>6/1/2025</a:t>
            </a:fld>
            <a:endParaRPr lang="en-US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1FF6DA9-008F-8B48-92A6-B652298478B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38892369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9EA016EC-703F-B24B-D9D9-6D0EE953A04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030387826"/>
              </p:ext>
            </p:extLst>
          </p:nvPr>
        </p:nvGraphicFramePr>
        <p:xfrm>
          <a:off x="2118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9" name="think-cell Slide" r:id="rId15" imgW="347" imgH="348" progId="TCLayout.ActiveDocument.1">
                  <p:embed/>
                </p:oleObj>
              </mc:Choice>
              <mc:Fallback>
                <p:oleObj name="think-cell Slide" r:id="rId15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2118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09600" y="248547"/>
            <a:ext cx="10972800" cy="1143000"/>
          </a:xfrm>
          <a:prstGeom prst="rect">
            <a:avLst/>
          </a:prstGeom>
        </p:spPr>
        <p:txBody>
          <a:bodyPr vert="horz" lIns="0" tIns="0" rIns="0" bIns="0" rtlCol="0" anchor="t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09600" y="1600201"/>
            <a:ext cx="10972800" cy="4525963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09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5BCAD085-E8A6-8845-BD4E-CB4CCA059FC4}" type="datetimeFigureOut">
              <a:rPr lang="en-US" smtClean="0"/>
              <a:pPr/>
              <a:t>6/1/2025</a:t>
            </a:fld>
            <a:endParaRPr lang="en-US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4165600" y="6356351"/>
            <a:ext cx="3860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endParaRPr lang="en-US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37600" y="6356351"/>
            <a:ext cx="284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  <a:latin typeface="Arial" panose="020B0604020202020204" pitchFamily="34" charset="0"/>
                <a:cs typeface="Arial" panose="020B0604020202020204" pitchFamily="34" charset="0"/>
              </a:defRPr>
            </a:lvl1pPr>
          </a:lstStyle>
          <a:p>
            <a:fld id="{C1FF6DA9-008F-8B48-92A6-B652298478BF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20997751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49" r:id="rId1"/>
    <p:sldLayoutId id="2147483650" r:id="rId2"/>
    <p:sldLayoutId id="2147483651" r:id="rId3"/>
    <p:sldLayoutId id="2147483652" r:id="rId4"/>
    <p:sldLayoutId id="2147483653" r:id="rId5"/>
    <p:sldLayoutId id="2147483654" r:id="rId6"/>
    <p:sldLayoutId id="2147483655" r:id="rId7"/>
    <p:sldLayoutId id="2147483656" r:id="rId8"/>
    <p:sldLayoutId id="2147483657" r:id="rId9"/>
    <p:sldLayoutId id="2147483658" r:id="rId10"/>
    <p:sldLayoutId id="2147483659" r:id="rId11"/>
  </p:sldLayoutIdLst>
  <p:txStyles>
    <p:titleStyle>
      <a:lvl1pPr algn="l" defTabSz="457200" rtl="0" eaLnBrk="1" latinLnBrk="0" hangingPunct="1">
        <a:spcBef>
          <a:spcPct val="0"/>
        </a:spcBef>
        <a:buNone/>
        <a:defRPr sz="3600" b="1" kern="1200">
          <a:solidFill>
            <a:schemeClr val="tx1"/>
          </a:solidFill>
          <a:latin typeface="Arial" panose="020B0604020202020204" pitchFamily="34" charset="0"/>
          <a:ea typeface="+mj-ea"/>
          <a:cs typeface="Arial" panose="020B0604020202020204" pitchFamily="34" charset="0"/>
        </a:defRPr>
      </a:lvl1pPr>
    </p:titleStyle>
    <p:bodyStyle>
      <a:lvl1pPr marL="342900" indent="-342900" algn="l" defTabSz="457200" rtl="0" eaLnBrk="1" latinLnBrk="0" hangingPunct="1">
        <a:spcBef>
          <a:spcPct val="20000"/>
        </a:spcBef>
        <a:buFont typeface="Arial"/>
        <a:buChar char="•"/>
        <a:defRPr sz="32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1pPr>
      <a:lvl2pPr marL="742950" indent="-285750" algn="l" defTabSz="457200" rtl="0" eaLnBrk="1" latinLnBrk="0" hangingPunct="1">
        <a:spcBef>
          <a:spcPct val="20000"/>
        </a:spcBef>
        <a:buFont typeface="Arial"/>
        <a:buChar char="–"/>
        <a:defRPr sz="28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2pPr>
      <a:lvl3pPr marL="1143000" indent="-228600" algn="l" defTabSz="457200" rtl="0" eaLnBrk="1" latinLnBrk="0" hangingPunct="1">
        <a:spcBef>
          <a:spcPct val="20000"/>
        </a:spcBef>
        <a:buFont typeface="Arial"/>
        <a:buChar char="•"/>
        <a:defRPr sz="24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3pPr>
      <a:lvl4pPr marL="1600200" indent="-228600" algn="l" defTabSz="457200" rtl="0" eaLnBrk="1" latinLnBrk="0" hangingPunct="1">
        <a:spcBef>
          <a:spcPct val="20000"/>
        </a:spcBef>
        <a:buFont typeface="Arial"/>
        <a:buChar char="–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4pPr>
      <a:lvl5pPr marL="2057400" indent="-228600" algn="l" defTabSz="457200" rtl="0" eaLnBrk="1" latinLnBrk="0" hangingPunct="1">
        <a:spcBef>
          <a:spcPct val="20000"/>
        </a:spcBef>
        <a:buFont typeface="Arial"/>
        <a:buChar char="»"/>
        <a:defRPr sz="2000" kern="1200">
          <a:solidFill>
            <a:schemeClr val="tx1"/>
          </a:solidFill>
          <a:latin typeface="Arial" panose="020B0604020202020204" pitchFamily="34" charset="0"/>
          <a:ea typeface="+mn-ea"/>
          <a:cs typeface="Arial" panose="020B0604020202020204" pitchFamily="34" charset="0"/>
        </a:defRPr>
      </a:lvl5pPr>
      <a:lvl6pPr marL="25146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.xml"/><Relationship Id="rId7" Type="http://schemas.openxmlformats.org/officeDocument/2006/relationships/image" Target="../media/image3.png"/><Relationship Id="rId2" Type="http://schemas.openxmlformats.org/officeDocument/2006/relationships/tags" Target="../tags/tag8.xml"/><Relationship Id="rId1" Type="http://schemas.openxmlformats.org/officeDocument/2006/relationships/vmlDrawing" Target="../drawings/vmlDrawing7.vml"/><Relationship Id="rId6" Type="http://schemas.openxmlformats.org/officeDocument/2006/relationships/image" Target="../media/image2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29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9.svg"/><Relationship Id="rId2" Type="http://schemas.openxmlformats.org/officeDocument/2006/relationships/tags" Target="../tags/tag17.xml"/><Relationship Id="rId1" Type="http://schemas.openxmlformats.org/officeDocument/2006/relationships/vmlDrawing" Target="../drawings/vmlDrawing16.vml"/><Relationship Id="rId6" Type="http://schemas.openxmlformats.org/officeDocument/2006/relationships/image" Target="../media/image28.png"/><Relationship Id="rId11" Type="http://schemas.openxmlformats.org/officeDocument/2006/relationships/image" Target="../media/image53.svg"/><Relationship Id="rId5" Type="http://schemas.openxmlformats.org/officeDocument/2006/relationships/image" Target="../media/image1.emf"/><Relationship Id="rId10" Type="http://schemas.openxmlformats.org/officeDocument/2006/relationships/image" Target="../media/image30.png"/><Relationship Id="rId4" Type="http://schemas.openxmlformats.org/officeDocument/2006/relationships/oleObject" Target="../embeddings/oleObject16.bin"/><Relationship Id="rId9" Type="http://schemas.openxmlformats.org/officeDocument/2006/relationships/image" Target="../media/image51.sv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32.jpeg"/><Relationship Id="rId2" Type="http://schemas.openxmlformats.org/officeDocument/2006/relationships/tags" Target="../tags/tag18.xml"/><Relationship Id="rId1" Type="http://schemas.openxmlformats.org/officeDocument/2006/relationships/vmlDrawing" Target="../drawings/vmlDrawing17.vml"/><Relationship Id="rId6" Type="http://schemas.openxmlformats.org/officeDocument/2006/relationships/image" Target="../media/image3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7.bin"/></Relationships>
</file>

<file path=ppt/slides/_rels/slide12.xml.rels><?xml version="1.0" encoding="UTF-8" standalone="yes"?>
<Relationships xmlns="http://schemas.openxmlformats.org/package/2006/relationships"><Relationship Id="rId8" Type="http://schemas.openxmlformats.org/officeDocument/2006/relationships/chart" Target="../charts/chart3.xml"/><Relationship Id="rId13" Type="http://schemas.openxmlformats.org/officeDocument/2006/relationships/image" Target="../media/image35.png"/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2.xml"/><Relationship Id="rId12" Type="http://schemas.openxmlformats.org/officeDocument/2006/relationships/image" Target="../media/image59.svg"/><Relationship Id="rId2" Type="http://schemas.openxmlformats.org/officeDocument/2006/relationships/tags" Target="../tags/tag19.xml"/><Relationship Id="rId1" Type="http://schemas.openxmlformats.org/officeDocument/2006/relationships/vmlDrawing" Target="../drawings/vmlDrawing18.vml"/><Relationship Id="rId6" Type="http://schemas.openxmlformats.org/officeDocument/2006/relationships/chart" Target="../charts/chart1.xml"/><Relationship Id="rId11" Type="http://schemas.openxmlformats.org/officeDocument/2006/relationships/image" Target="../media/image34.png"/><Relationship Id="rId5" Type="http://schemas.openxmlformats.org/officeDocument/2006/relationships/image" Target="../media/image1.emf"/><Relationship Id="rId10" Type="http://schemas.openxmlformats.org/officeDocument/2006/relationships/image" Target="../media/image57.svg"/><Relationship Id="rId4" Type="http://schemas.openxmlformats.org/officeDocument/2006/relationships/oleObject" Target="../embeddings/oleObject18.bin"/><Relationship Id="rId9" Type="http://schemas.openxmlformats.org/officeDocument/2006/relationships/image" Target="../media/image33.png"/><Relationship Id="rId14" Type="http://schemas.openxmlformats.org/officeDocument/2006/relationships/image" Target="../media/image61.svg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chart" Target="../charts/chart6.xml"/><Relationship Id="rId13" Type="http://schemas.openxmlformats.org/officeDocument/2006/relationships/image" Target="../media/image35.png"/><Relationship Id="rId3" Type="http://schemas.openxmlformats.org/officeDocument/2006/relationships/slideLayout" Target="../slideLayouts/slideLayout6.xml"/><Relationship Id="rId7" Type="http://schemas.openxmlformats.org/officeDocument/2006/relationships/chart" Target="../charts/chart5.xml"/><Relationship Id="rId12" Type="http://schemas.openxmlformats.org/officeDocument/2006/relationships/image" Target="../media/image59.svg"/><Relationship Id="rId2" Type="http://schemas.openxmlformats.org/officeDocument/2006/relationships/tags" Target="../tags/tag20.xml"/><Relationship Id="rId1" Type="http://schemas.openxmlformats.org/officeDocument/2006/relationships/vmlDrawing" Target="../drawings/vmlDrawing19.vml"/><Relationship Id="rId6" Type="http://schemas.openxmlformats.org/officeDocument/2006/relationships/chart" Target="../charts/chart4.xml"/><Relationship Id="rId11" Type="http://schemas.openxmlformats.org/officeDocument/2006/relationships/image" Target="../media/image34.png"/><Relationship Id="rId5" Type="http://schemas.openxmlformats.org/officeDocument/2006/relationships/image" Target="../media/image1.emf"/><Relationship Id="rId10" Type="http://schemas.openxmlformats.org/officeDocument/2006/relationships/image" Target="../media/image57.svg"/><Relationship Id="rId4" Type="http://schemas.openxmlformats.org/officeDocument/2006/relationships/oleObject" Target="../embeddings/oleObject19.bin"/><Relationship Id="rId9" Type="http://schemas.openxmlformats.org/officeDocument/2006/relationships/image" Target="../media/image33.png"/><Relationship Id="rId14" Type="http://schemas.openxmlformats.org/officeDocument/2006/relationships/image" Target="../media/image61.svg"/></Relationships>
</file>

<file path=ppt/slides/_rels/slide1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7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63.svg"/><Relationship Id="rId2" Type="http://schemas.openxmlformats.org/officeDocument/2006/relationships/tags" Target="../tags/tag21.xml"/><Relationship Id="rId1" Type="http://schemas.openxmlformats.org/officeDocument/2006/relationships/vmlDrawing" Target="../drawings/vmlDrawing20.vml"/><Relationship Id="rId6" Type="http://schemas.openxmlformats.org/officeDocument/2006/relationships/image" Target="../media/image36.png"/><Relationship Id="rId11" Type="http://schemas.openxmlformats.org/officeDocument/2006/relationships/image" Target="../media/image67.svg"/><Relationship Id="rId5" Type="http://schemas.openxmlformats.org/officeDocument/2006/relationships/image" Target="../media/image1.emf"/><Relationship Id="rId10" Type="http://schemas.openxmlformats.org/officeDocument/2006/relationships/image" Target="../media/image38.png"/><Relationship Id="rId4" Type="http://schemas.openxmlformats.org/officeDocument/2006/relationships/oleObject" Target="../embeddings/oleObject20.bin"/><Relationship Id="rId9" Type="http://schemas.openxmlformats.org/officeDocument/2006/relationships/image" Target="../media/image65.svg"/></Relationships>
</file>

<file path=ppt/slides/_rels/slide15.xml.rels><?xml version="1.0" encoding="UTF-8" standalone="yes"?>
<Relationships xmlns="http://schemas.openxmlformats.org/package/2006/relationships"><Relationship Id="rId8" Type="http://schemas.openxmlformats.org/officeDocument/2006/relationships/image" Target="../media/image39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9.svg"/><Relationship Id="rId2" Type="http://schemas.openxmlformats.org/officeDocument/2006/relationships/tags" Target="../tags/tag22.xml"/><Relationship Id="rId1" Type="http://schemas.openxmlformats.org/officeDocument/2006/relationships/vmlDrawing" Target="../drawings/vmlDrawing21.vml"/><Relationship Id="rId6" Type="http://schemas.openxmlformats.org/officeDocument/2006/relationships/image" Target="../media/image6.png"/><Relationship Id="rId11" Type="http://schemas.openxmlformats.org/officeDocument/2006/relationships/image" Target="../media/image71.svg"/><Relationship Id="rId5" Type="http://schemas.openxmlformats.org/officeDocument/2006/relationships/image" Target="../media/image1.emf"/><Relationship Id="rId10" Type="http://schemas.openxmlformats.org/officeDocument/2006/relationships/image" Target="../media/image40.png"/><Relationship Id="rId4" Type="http://schemas.openxmlformats.org/officeDocument/2006/relationships/oleObject" Target="../embeddings/oleObject21.bin"/><Relationship Id="rId9" Type="http://schemas.openxmlformats.org/officeDocument/2006/relationships/image" Target="../media/image69.svg"/></Relationships>
</file>

<file path=ppt/slides/_rels/slide16.xml.rels><?xml version="1.0" encoding="UTF-8" standalone="yes"?>
<Relationships xmlns="http://schemas.openxmlformats.org/package/2006/relationships"><Relationship Id="rId8" Type="http://schemas.openxmlformats.org/officeDocument/2006/relationships/image" Target="../media/image43.jpe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2.jpeg"/><Relationship Id="rId2" Type="http://schemas.openxmlformats.org/officeDocument/2006/relationships/tags" Target="../tags/tag23.xml"/><Relationship Id="rId1" Type="http://schemas.openxmlformats.org/officeDocument/2006/relationships/vmlDrawing" Target="../drawings/vmlDrawing22.vml"/><Relationship Id="rId6" Type="http://schemas.openxmlformats.org/officeDocument/2006/relationships/image" Target="../media/image41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2.bin"/></Relationships>
</file>

<file path=ppt/slides/_rels/slide17.xml.rels><?xml version="1.0" encoding="UTF-8" standalone="yes"?>
<Relationships xmlns="http://schemas.openxmlformats.org/package/2006/relationships"><Relationship Id="rId8" Type="http://schemas.openxmlformats.org/officeDocument/2006/relationships/image" Target="../media/image61.sv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5.png"/><Relationship Id="rId2" Type="http://schemas.openxmlformats.org/officeDocument/2006/relationships/tags" Target="../tags/tag24.xml"/><Relationship Id="rId1" Type="http://schemas.openxmlformats.org/officeDocument/2006/relationships/vmlDrawing" Target="../drawings/vmlDrawing23.vml"/><Relationship Id="rId6" Type="http://schemas.openxmlformats.org/officeDocument/2006/relationships/image" Target="../media/image44.jpeg"/><Relationship Id="rId5" Type="http://schemas.openxmlformats.org/officeDocument/2006/relationships/image" Target="../media/image1.emf"/><Relationship Id="rId10" Type="http://schemas.openxmlformats.org/officeDocument/2006/relationships/image" Target="../media/image78.svg"/><Relationship Id="rId4" Type="http://schemas.openxmlformats.org/officeDocument/2006/relationships/oleObject" Target="../embeddings/oleObject23.bin"/><Relationship Id="rId9" Type="http://schemas.openxmlformats.org/officeDocument/2006/relationships/image" Target="../media/image46.png"/></Relationships>
</file>

<file path=ppt/slides/_rels/slide18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8.jpeg"/><Relationship Id="rId2" Type="http://schemas.openxmlformats.org/officeDocument/2006/relationships/tags" Target="../tags/tag25.xml"/><Relationship Id="rId1" Type="http://schemas.openxmlformats.org/officeDocument/2006/relationships/vmlDrawing" Target="../drawings/vmlDrawing24.vml"/><Relationship Id="rId6" Type="http://schemas.openxmlformats.org/officeDocument/2006/relationships/image" Target="../media/image4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24.bin"/></Relationships>
</file>

<file path=ppt/slides/_rels/slide19.xml.rels><?xml version="1.0" encoding="UTF-8" standalone="yes"?>
<Relationships xmlns="http://schemas.openxmlformats.org/package/2006/relationships"><Relationship Id="rId8" Type="http://schemas.openxmlformats.org/officeDocument/2006/relationships/image" Target="../media/image49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9.svg"/><Relationship Id="rId2" Type="http://schemas.openxmlformats.org/officeDocument/2006/relationships/tags" Target="../tags/tag26.xml"/><Relationship Id="rId1" Type="http://schemas.openxmlformats.org/officeDocument/2006/relationships/vmlDrawing" Target="../drawings/vmlDrawing25.vml"/><Relationship Id="rId6" Type="http://schemas.openxmlformats.org/officeDocument/2006/relationships/image" Target="../media/image6.png"/><Relationship Id="rId11" Type="http://schemas.openxmlformats.org/officeDocument/2006/relationships/image" Target="../media/image84.svg"/><Relationship Id="rId5" Type="http://schemas.openxmlformats.org/officeDocument/2006/relationships/image" Target="../media/image1.emf"/><Relationship Id="rId10" Type="http://schemas.openxmlformats.org/officeDocument/2006/relationships/image" Target="../media/image50.png"/><Relationship Id="rId4" Type="http://schemas.openxmlformats.org/officeDocument/2006/relationships/oleObject" Target="../embeddings/oleObject25.bin"/><Relationship Id="rId9" Type="http://schemas.openxmlformats.org/officeDocument/2006/relationships/image" Target="../media/image82.svg"/></Relationships>
</file>

<file path=ppt/slides/_rels/slide2.xml.rels><?xml version="1.0" encoding="UTF-8" standalone="yes"?>
<Relationships xmlns="http://schemas.openxmlformats.org/package/2006/relationships"><Relationship Id="rId8" Type="http://schemas.openxmlformats.org/officeDocument/2006/relationships/image" Target="../media/image5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5.svg"/><Relationship Id="rId2" Type="http://schemas.openxmlformats.org/officeDocument/2006/relationships/tags" Target="../tags/tag9.xml"/><Relationship Id="rId1" Type="http://schemas.openxmlformats.org/officeDocument/2006/relationships/vmlDrawing" Target="../drawings/vmlDrawing8.vml"/><Relationship Id="rId6" Type="http://schemas.openxmlformats.org/officeDocument/2006/relationships/image" Target="../media/image4.png"/><Relationship Id="rId11" Type="http://schemas.openxmlformats.org/officeDocument/2006/relationships/image" Target="../media/image9.svg"/><Relationship Id="rId5" Type="http://schemas.openxmlformats.org/officeDocument/2006/relationships/image" Target="../media/image1.emf"/><Relationship Id="rId10" Type="http://schemas.openxmlformats.org/officeDocument/2006/relationships/image" Target="../media/image6.png"/><Relationship Id="rId4" Type="http://schemas.openxmlformats.org/officeDocument/2006/relationships/oleObject" Target="../embeddings/oleObject8.bin"/><Relationship Id="rId9" Type="http://schemas.openxmlformats.org/officeDocument/2006/relationships/image" Target="../media/image7.svg"/></Relationships>
</file>

<file path=ppt/slides/_rels/slide2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2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86.svg"/><Relationship Id="rId2" Type="http://schemas.openxmlformats.org/officeDocument/2006/relationships/tags" Target="../tags/tag27.xml"/><Relationship Id="rId1" Type="http://schemas.openxmlformats.org/officeDocument/2006/relationships/vmlDrawing" Target="../drawings/vmlDrawing26.vml"/><Relationship Id="rId6" Type="http://schemas.openxmlformats.org/officeDocument/2006/relationships/image" Target="../media/image51.png"/><Relationship Id="rId11" Type="http://schemas.openxmlformats.org/officeDocument/2006/relationships/image" Target="../media/image90.svg"/><Relationship Id="rId5" Type="http://schemas.openxmlformats.org/officeDocument/2006/relationships/image" Target="../media/image1.emf"/><Relationship Id="rId10" Type="http://schemas.openxmlformats.org/officeDocument/2006/relationships/image" Target="../media/image53.png"/><Relationship Id="rId4" Type="http://schemas.openxmlformats.org/officeDocument/2006/relationships/oleObject" Target="../embeddings/oleObject26.bin"/><Relationship Id="rId9" Type="http://schemas.openxmlformats.org/officeDocument/2006/relationships/image" Target="../media/image88.svg"/></Relationships>
</file>

<file path=ppt/slides/_rels/slide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0.xml"/><Relationship Id="rId1" Type="http://schemas.openxmlformats.org/officeDocument/2006/relationships/vmlDrawing" Target="../drawings/vmlDrawing9.vml"/><Relationship Id="rId6" Type="http://schemas.openxmlformats.org/officeDocument/2006/relationships/image" Target="../media/image7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0.vml"/><Relationship Id="rId6" Type="http://schemas.openxmlformats.org/officeDocument/2006/relationships/image" Target="../media/image8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s/_rels/slide5.xml.rels><?xml version="1.0" encoding="UTF-8" standalone="yes"?>
<Relationships xmlns="http://schemas.openxmlformats.org/package/2006/relationships"><Relationship Id="rId8" Type="http://schemas.openxmlformats.org/officeDocument/2006/relationships/image" Target="../media/image10.png"/><Relationship Id="rId13" Type="http://schemas.openxmlformats.org/officeDocument/2006/relationships/image" Target="../media/image19.sv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13.svg"/><Relationship Id="rId12" Type="http://schemas.openxmlformats.org/officeDocument/2006/relationships/image" Target="../media/image12.png"/><Relationship Id="rId17" Type="http://schemas.openxmlformats.org/officeDocument/2006/relationships/image" Target="../media/image23.svg"/><Relationship Id="rId2" Type="http://schemas.openxmlformats.org/officeDocument/2006/relationships/tags" Target="../tags/tag12.xml"/><Relationship Id="rId16" Type="http://schemas.openxmlformats.org/officeDocument/2006/relationships/image" Target="../media/image14.png"/><Relationship Id="rId1" Type="http://schemas.openxmlformats.org/officeDocument/2006/relationships/vmlDrawing" Target="../drawings/vmlDrawing11.vml"/><Relationship Id="rId6" Type="http://schemas.openxmlformats.org/officeDocument/2006/relationships/image" Target="../media/image9.png"/><Relationship Id="rId11" Type="http://schemas.openxmlformats.org/officeDocument/2006/relationships/image" Target="../media/image17.svg"/><Relationship Id="rId5" Type="http://schemas.openxmlformats.org/officeDocument/2006/relationships/image" Target="../media/image1.emf"/><Relationship Id="rId15" Type="http://schemas.openxmlformats.org/officeDocument/2006/relationships/image" Target="../media/image21.svg"/><Relationship Id="rId10" Type="http://schemas.openxmlformats.org/officeDocument/2006/relationships/image" Target="../media/image11.png"/><Relationship Id="rId4" Type="http://schemas.openxmlformats.org/officeDocument/2006/relationships/oleObject" Target="../embeddings/oleObject11.bin"/><Relationship Id="rId9" Type="http://schemas.openxmlformats.org/officeDocument/2006/relationships/image" Target="../media/image15.svg"/><Relationship Id="rId14" Type="http://schemas.openxmlformats.org/officeDocument/2006/relationships/image" Target="../media/image13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6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2.vml"/><Relationship Id="rId6" Type="http://schemas.openxmlformats.org/officeDocument/2006/relationships/image" Target="../media/image15.jpeg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s/_rels/slide7.xml.rels><?xml version="1.0" encoding="UTF-8" standalone="yes"?>
<Relationships xmlns="http://schemas.openxmlformats.org/package/2006/relationships"><Relationship Id="rId8" Type="http://schemas.openxmlformats.org/officeDocument/2006/relationships/image" Target="../media/image17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6.svg"/><Relationship Id="rId2" Type="http://schemas.openxmlformats.org/officeDocument/2006/relationships/tags" Target="../tags/tag14.xml"/><Relationship Id="rId1" Type="http://schemas.openxmlformats.org/officeDocument/2006/relationships/vmlDrawing" Target="../drawings/vmlDrawing13.vml"/><Relationship Id="rId6" Type="http://schemas.openxmlformats.org/officeDocument/2006/relationships/image" Target="../media/image16.png"/><Relationship Id="rId11" Type="http://schemas.openxmlformats.org/officeDocument/2006/relationships/image" Target="../media/image30.svg"/><Relationship Id="rId5" Type="http://schemas.openxmlformats.org/officeDocument/2006/relationships/image" Target="../media/image1.emf"/><Relationship Id="rId10" Type="http://schemas.openxmlformats.org/officeDocument/2006/relationships/image" Target="../media/image18.png"/><Relationship Id="rId4" Type="http://schemas.openxmlformats.org/officeDocument/2006/relationships/oleObject" Target="../embeddings/oleObject13.bin"/><Relationship Id="rId9" Type="http://schemas.openxmlformats.org/officeDocument/2006/relationships/image" Target="../media/image28.svg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svg"/><Relationship Id="rId13" Type="http://schemas.openxmlformats.org/officeDocument/2006/relationships/image" Target="../media/image23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20.png"/><Relationship Id="rId12" Type="http://schemas.openxmlformats.org/officeDocument/2006/relationships/image" Target="../media/image37.svg"/><Relationship Id="rId2" Type="http://schemas.openxmlformats.org/officeDocument/2006/relationships/tags" Target="../tags/tag15.xml"/><Relationship Id="rId16" Type="http://schemas.openxmlformats.org/officeDocument/2006/relationships/image" Target="../media/image41.svg"/><Relationship Id="rId1" Type="http://schemas.openxmlformats.org/officeDocument/2006/relationships/vmlDrawing" Target="../drawings/vmlDrawing14.vml"/><Relationship Id="rId6" Type="http://schemas.openxmlformats.org/officeDocument/2006/relationships/image" Target="../media/image19.jpeg"/><Relationship Id="rId11" Type="http://schemas.openxmlformats.org/officeDocument/2006/relationships/image" Target="../media/image22.png"/><Relationship Id="rId5" Type="http://schemas.openxmlformats.org/officeDocument/2006/relationships/image" Target="../media/image1.emf"/><Relationship Id="rId15" Type="http://schemas.openxmlformats.org/officeDocument/2006/relationships/image" Target="../media/image24.png"/><Relationship Id="rId10" Type="http://schemas.openxmlformats.org/officeDocument/2006/relationships/image" Target="../media/image35.svg"/><Relationship Id="rId4" Type="http://schemas.openxmlformats.org/officeDocument/2006/relationships/oleObject" Target="../embeddings/oleObject14.bin"/><Relationship Id="rId9" Type="http://schemas.openxmlformats.org/officeDocument/2006/relationships/image" Target="../media/image21.png"/><Relationship Id="rId14" Type="http://schemas.openxmlformats.org/officeDocument/2006/relationships/image" Target="../media/image39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26.png"/><Relationship Id="rId3" Type="http://schemas.openxmlformats.org/officeDocument/2006/relationships/slideLayout" Target="../slideLayouts/slideLayout6.xml"/><Relationship Id="rId7" Type="http://schemas.openxmlformats.org/officeDocument/2006/relationships/image" Target="../media/image43.svg"/><Relationship Id="rId2" Type="http://schemas.openxmlformats.org/officeDocument/2006/relationships/tags" Target="../tags/tag16.xml"/><Relationship Id="rId1" Type="http://schemas.openxmlformats.org/officeDocument/2006/relationships/vmlDrawing" Target="../drawings/vmlDrawing15.vml"/><Relationship Id="rId6" Type="http://schemas.openxmlformats.org/officeDocument/2006/relationships/image" Target="../media/image25.png"/><Relationship Id="rId11" Type="http://schemas.openxmlformats.org/officeDocument/2006/relationships/image" Target="../media/image47.svg"/><Relationship Id="rId5" Type="http://schemas.openxmlformats.org/officeDocument/2006/relationships/image" Target="../media/image1.emf"/><Relationship Id="rId10" Type="http://schemas.openxmlformats.org/officeDocument/2006/relationships/image" Target="../media/image27.png"/><Relationship Id="rId4" Type="http://schemas.openxmlformats.org/officeDocument/2006/relationships/oleObject" Target="../embeddings/oleObject15.bin"/><Relationship Id="rId9" Type="http://schemas.openxmlformats.org/officeDocument/2006/relationships/image" Target="../media/image45.sv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>
            <a:extLst>
              <a:ext uri="{FF2B5EF4-FFF2-40B4-BE49-F238E27FC236}">
                <a16:creationId xmlns:a16="http://schemas.microsoft.com/office/drawing/2014/main" id="{EBCD168D-9B10-3089-AEF5-A0DDAAFAD375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4175623828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73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8" name="Freeform: Shape 37">
            <a:extLst>
              <a:ext uri="{FF2B5EF4-FFF2-40B4-BE49-F238E27FC236}">
                <a16:creationId xmlns:a16="http://schemas.microsoft.com/office/drawing/2014/main" id="{6B1F66CC-FE04-0049-D514-ABBE8BF06586}"/>
              </a:ext>
            </a:extLst>
          </p:cNvPr>
          <p:cNvSpPr/>
          <p:nvPr/>
        </p:nvSpPr>
        <p:spPr>
          <a:xfrm>
            <a:off x="0" y="-1"/>
            <a:ext cx="12192000" cy="6858000"/>
          </a:xfrm>
          <a:custGeom>
            <a:avLst/>
            <a:gdLst>
              <a:gd name="connsiteX0" fmla="*/ 0 w 12192000"/>
              <a:gd name="connsiteY0" fmla="*/ 0 h 6858000"/>
              <a:gd name="connsiteX1" fmla="*/ 6790941 w 12192000"/>
              <a:gd name="connsiteY1" fmla="*/ 0 h 6858000"/>
              <a:gd name="connsiteX2" fmla="*/ 6779045 w 12192000"/>
              <a:gd name="connsiteY2" fmla="*/ 18555 h 6858000"/>
              <a:gd name="connsiteX3" fmla="*/ 6225824 w 12192000"/>
              <a:gd name="connsiteY3" fmla="*/ 2000032 h 6858000"/>
              <a:gd name="connsiteX4" fmla="*/ 10047112 w 12192000"/>
              <a:gd name="connsiteY4" fmla="*/ 5821320 h 6858000"/>
              <a:gd name="connsiteX5" fmla="*/ 12183630 w 12192000"/>
              <a:gd name="connsiteY5" fmla="*/ 5168704 h 6858000"/>
              <a:gd name="connsiteX6" fmla="*/ 12192000 w 12192000"/>
              <a:gd name="connsiteY6" fmla="*/ 5162445 h 6858000"/>
              <a:gd name="connsiteX7" fmla="*/ 12192000 w 12192000"/>
              <a:gd name="connsiteY7" fmla="*/ 6858000 h 6858000"/>
              <a:gd name="connsiteX8" fmla="*/ 0 w 12192000"/>
              <a:gd name="connsiteY8" fmla="*/ 6858000 h 6858000"/>
              <a:gd name="connsiteX9" fmla="*/ 0 w 12192000"/>
              <a:gd name="connsiteY9" fmla="*/ 0 h 6858000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</a:cxnLst>
            <a:rect l="l" t="t" r="r" b="b"/>
            <a:pathLst>
              <a:path w="12192000" h="6858000">
                <a:moveTo>
                  <a:pt x="0" y="0"/>
                </a:moveTo>
                <a:lnTo>
                  <a:pt x="6790941" y="0"/>
                </a:lnTo>
                <a:lnTo>
                  <a:pt x="6779045" y="18555"/>
                </a:lnTo>
                <a:cubicBezTo>
                  <a:pt x="6427985" y="596322"/>
                  <a:pt x="6225824" y="1274569"/>
                  <a:pt x="6225824" y="2000032"/>
                </a:cubicBezTo>
                <a:cubicBezTo>
                  <a:pt x="6225824" y="4110471"/>
                  <a:pt x="7936673" y="5821320"/>
                  <a:pt x="10047112" y="5821320"/>
                </a:cubicBezTo>
                <a:cubicBezTo>
                  <a:pt x="10838527" y="5821320"/>
                  <a:pt x="11573749" y="5580732"/>
                  <a:pt x="12183630" y="5168704"/>
                </a:cubicBezTo>
                <a:lnTo>
                  <a:pt x="12192000" y="5162445"/>
                </a:lnTo>
                <a:lnTo>
                  <a:pt x="12192000" y="6858000"/>
                </a:lnTo>
                <a:lnTo>
                  <a:pt x="0" y="6858000"/>
                </a:lnTo>
                <a:lnTo>
                  <a:pt x="0" y="0"/>
                </a:lnTo>
                <a:close/>
              </a:path>
            </a:pathLst>
          </a:custGeom>
          <a:gradFill>
            <a:gsLst>
              <a:gs pos="19000">
                <a:srgbClr val="6366AB"/>
              </a:gs>
              <a:gs pos="100000">
                <a:srgbClr val="B5317D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7E4FA80A-ADF0-529C-952B-D10096715F40}"/>
              </a:ext>
            </a:extLst>
          </p:cNvPr>
          <p:cNvSpPr/>
          <p:nvPr/>
        </p:nvSpPr>
        <p:spPr>
          <a:xfrm>
            <a:off x="0" y="1148543"/>
            <a:ext cx="8000394" cy="2921000"/>
          </a:xfrm>
          <a:prstGeom prst="rect">
            <a:avLst/>
          </a:prstGeom>
          <a:solidFill>
            <a:schemeClr val="bg1">
              <a:lumMod val="95000"/>
            </a:schemeClr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8CF0E194-C11B-8B2D-3A4B-B7B4C98A8706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7036209" y="3"/>
            <a:ext cx="5155791" cy="5030289"/>
          </a:xfrm>
          <a:custGeom>
            <a:avLst/>
            <a:gdLst>
              <a:gd name="connsiteX0" fmla="*/ 738509 w 5155791"/>
              <a:gd name="connsiteY0" fmla="*/ 0 h 5030289"/>
              <a:gd name="connsiteX1" fmla="*/ 5155791 w 5155791"/>
              <a:gd name="connsiteY1" fmla="*/ 0 h 5030289"/>
              <a:gd name="connsiteX2" fmla="*/ 5155791 w 5155791"/>
              <a:gd name="connsiteY2" fmla="*/ 4140359 h 5030289"/>
              <a:gd name="connsiteX3" fmla="*/ 5153621 w 5155791"/>
              <a:gd name="connsiteY3" fmla="*/ 4142747 h 5030289"/>
              <a:gd name="connsiteX4" fmla="*/ 3010905 w 5155791"/>
              <a:gd name="connsiteY4" fmla="*/ 5030289 h 5030289"/>
              <a:gd name="connsiteX5" fmla="*/ 15562 w 5155791"/>
              <a:gd name="connsiteY5" fmla="*/ 2461509 h 5030289"/>
              <a:gd name="connsiteX6" fmla="*/ 0 w 5155791"/>
              <a:gd name="connsiteY6" fmla="*/ 2339039 h 5030289"/>
              <a:gd name="connsiteX7" fmla="*/ 0 w 5155791"/>
              <a:gd name="connsiteY7" fmla="*/ 1673364 h 5030289"/>
              <a:gd name="connsiteX8" fmla="*/ 27976 w 5155791"/>
              <a:gd name="connsiteY8" fmla="*/ 1463625 h 5030289"/>
              <a:gd name="connsiteX9" fmla="*/ 672611 w 5155791"/>
              <a:gd name="connsiteY9" fmla="*/ 72506 h 5030289"/>
              <a:gd name="connsiteX10" fmla="*/ 738509 w 5155791"/>
              <a:gd name="connsiteY10" fmla="*/ 0 h 5030289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  <a:cxn ang="0">
                <a:pos x="connsiteX6" y="connsiteY6"/>
              </a:cxn>
              <a:cxn ang="0">
                <a:pos x="connsiteX7" y="connsiteY7"/>
              </a:cxn>
              <a:cxn ang="0">
                <a:pos x="connsiteX8" y="connsiteY8"/>
              </a:cxn>
              <a:cxn ang="0">
                <a:pos x="connsiteX9" y="connsiteY9"/>
              </a:cxn>
              <a:cxn ang="0">
                <a:pos x="connsiteX10" y="connsiteY10"/>
              </a:cxn>
            </a:cxnLst>
            <a:rect l="l" t="t" r="r" b="b"/>
            <a:pathLst>
              <a:path w="5155791" h="5030289">
                <a:moveTo>
                  <a:pt x="738509" y="0"/>
                </a:moveTo>
                <a:lnTo>
                  <a:pt x="5155791" y="0"/>
                </a:lnTo>
                <a:lnTo>
                  <a:pt x="5155791" y="4140359"/>
                </a:lnTo>
                <a:lnTo>
                  <a:pt x="5153621" y="4142747"/>
                </a:lnTo>
                <a:cubicBezTo>
                  <a:pt x="4605252" y="4691116"/>
                  <a:pt x="3847688" y="5030289"/>
                  <a:pt x="3010905" y="5030289"/>
                </a:cubicBezTo>
                <a:cubicBezTo>
                  <a:pt x="1494237" y="5030289"/>
                  <a:pt x="237812" y="3916052"/>
                  <a:pt x="15562" y="2461509"/>
                </a:cubicBezTo>
                <a:lnTo>
                  <a:pt x="0" y="2339039"/>
                </a:lnTo>
                <a:lnTo>
                  <a:pt x="0" y="1673364"/>
                </a:lnTo>
                <a:lnTo>
                  <a:pt x="27976" y="1463625"/>
                </a:lnTo>
                <a:cubicBezTo>
                  <a:pt x="121275" y="941312"/>
                  <a:pt x="348398" y="465361"/>
                  <a:pt x="672611" y="72506"/>
                </a:cubicBezTo>
                <a:lnTo>
                  <a:pt x="738509" y="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5" name="Picture 4" descr="Scenes of people at work">
            <a:extLst>
              <a:ext uri="{FF2B5EF4-FFF2-40B4-BE49-F238E27FC236}">
                <a16:creationId xmlns:a16="http://schemas.microsoft.com/office/drawing/2014/main" id="{F31486DE-7D1D-DE13-B90D-0D9E224152A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7"/>
          <a:srcRect/>
          <a:stretch/>
        </p:blipFill>
        <p:spPr bwMode="auto">
          <a:xfrm>
            <a:off x="7016856" y="1673367"/>
            <a:ext cx="19353" cy="665675"/>
          </a:xfrm>
          <a:custGeom>
            <a:avLst/>
            <a:gdLst>
              <a:gd name="connsiteX0" fmla="*/ 19353 w 19353"/>
              <a:gd name="connsiteY0" fmla="*/ 0 h 665675"/>
              <a:gd name="connsiteX1" fmla="*/ 19353 w 19353"/>
              <a:gd name="connsiteY1" fmla="*/ 665675 h 665675"/>
              <a:gd name="connsiteX2" fmla="*/ 15645 w 19353"/>
              <a:gd name="connsiteY2" fmla="*/ 636493 h 665675"/>
              <a:gd name="connsiteX3" fmla="*/ 0 w 19353"/>
              <a:gd name="connsiteY3" fmla="*/ 326667 h 665675"/>
              <a:gd name="connsiteX4" fmla="*/ 12002 w 19353"/>
              <a:gd name="connsiteY4" fmla="*/ 55111 h 665675"/>
              <a:gd name="connsiteX5" fmla="*/ 19353 w 19353"/>
              <a:gd name="connsiteY5" fmla="*/ 0 h 665675"/>
            </a:gdLst>
            <a:ahLst/>
            <a:cxnLst>
              <a:cxn ang="0">
                <a:pos x="connsiteX0" y="connsiteY0"/>
              </a:cxn>
              <a:cxn ang="0">
                <a:pos x="connsiteX1" y="connsiteY1"/>
              </a:cxn>
              <a:cxn ang="0">
                <a:pos x="connsiteX2" y="connsiteY2"/>
              </a:cxn>
              <a:cxn ang="0">
                <a:pos x="connsiteX3" y="connsiteY3"/>
              </a:cxn>
              <a:cxn ang="0">
                <a:pos x="connsiteX4" y="connsiteY4"/>
              </a:cxn>
              <a:cxn ang="0">
                <a:pos x="connsiteX5" y="connsiteY5"/>
              </a:cxn>
            </a:cxnLst>
            <a:rect l="l" t="t" r="r" b="b"/>
            <a:pathLst>
              <a:path w="19353" h="665675">
                <a:moveTo>
                  <a:pt x="19353" y="0"/>
                </a:moveTo>
                <a:lnTo>
                  <a:pt x="19353" y="665675"/>
                </a:lnTo>
                <a:lnTo>
                  <a:pt x="15645" y="636493"/>
                </a:lnTo>
                <a:cubicBezTo>
                  <a:pt x="5299" y="534625"/>
                  <a:pt x="0" y="431265"/>
                  <a:pt x="0" y="326667"/>
                </a:cubicBezTo>
                <a:cubicBezTo>
                  <a:pt x="0" y="235144"/>
                  <a:pt x="4057" y="144569"/>
                  <a:pt x="12002" y="55111"/>
                </a:cubicBezTo>
                <a:lnTo>
                  <a:pt x="19353" y="0"/>
                </a:lnTo>
                <a:close/>
              </a:path>
            </a:pathLst>
          </a:cu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9" name="Title 1">
            <a:extLst>
              <a:ext uri="{FF2B5EF4-FFF2-40B4-BE49-F238E27FC236}">
                <a16:creationId xmlns:a16="http://schemas.microsoft.com/office/drawing/2014/main" id="{C8B5FDE7-332E-F014-D88C-E5A4AE5267AB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861733" y="1377937"/>
            <a:ext cx="5659413" cy="2462213"/>
          </a:xfrm>
        </p:spPr>
        <p:txBody>
          <a:bodyPr vert="horz">
            <a:noAutofit/>
          </a:bodyPr>
          <a:lstStyle/>
          <a:p>
            <a:r>
              <a:rPr lang="en-IN" sz="4400" b="1" dirty="0"/>
              <a:t>FINANCIAL MASTERCLASS</a:t>
            </a:r>
            <a:br>
              <a:rPr lang="en-IN" sz="4400" b="1" dirty="0"/>
            </a:br>
            <a:r>
              <a:rPr lang="en-US" b="0" dirty="0"/>
              <a:t>Empowering You to Take Control of Your Finances</a:t>
            </a:r>
            <a:endParaRPr lang="en-IN" sz="4400" b="0" dirty="0"/>
          </a:p>
        </p:txBody>
      </p:sp>
      <p:sp>
        <p:nvSpPr>
          <p:cNvPr id="10" name="Subtitle 2">
            <a:extLst>
              <a:ext uri="{FF2B5EF4-FFF2-40B4-BE49-F238E27FC236}">
                <a16:creationId xmlns:a16="http://schemas.microsoft.com/office/drawing/2014/main" id="{A8DC1057-0BD2-589E-6D61-951F096BBCB6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861733" y="5030292"/>
            <a:ext cx="4535129" cy="1415772"/>
          </a:xfrm>
        </p:spPr>
        <p:txBody>
          <a:bodyPr vert="horz" lIns="0" tIns="0" rIns="0" bIns="0" rtlCol="0">
            <a:spAutoFit/>
          </a:bodyPr>
          <a:lstStyle/>
          <a:p>
            <a:pPr algn="l">
              <a:spcBef>
                <a:spcPts val="600"/>
              </a:spcBef>
              <a:spcAft>
                <a:spcPts val="600"/>
              </a:spcAft>
            </a:pPr>
            <a:r>
              <a:rPr sz="2400" i="1" dirty="0">
                <a:solidFill>
                  <a:schemeClr val="bg1"/>
                </a:solidFill>
              </a:rPr>
              <a:t>Sunday, </a:t>
            </a:r>
            <a:r>
              <a:rPr lang="en-GB" sz="2400" i="1" dirty="0" smtClean="0">
                <a:solidFill>
                  <a:schemeClr val="bg1"/>
                </a:solidFill>
              </a:rPr>
              <a:t>1</a:t>
            </a:r>
            <a:r>
              <a:rPr lang="en-GB" sz="2400" i="1" baseline="30000" dirty="0" smtClean="0">
                <a:solidFill>
                  <a:schemeClr val="bg1"/>
                </a:solidFill>
              </a:rPr>
              <a:t>st</a:t>
            </a:r>
            <a:r>
              <a:rPr lang="en-GB" sz="2400" i="1" dirty="0" smtClean="0">
                <a:solidFill>
                  <a:schemeClr val="bg1"/>
                </a:solidFill>
              </a:rPr>
              <a:t> June 2025</a:t>
            </a:r>
            <a:endParaRPr sz="2400" i="1" dirty="0">
              <a:solidFill>
                <a:schemeClr val="bg1"/>
              </a:solidFill>
            </a:endParaRPr>
          </a:p>
          <a:p>
            <a:pPr algn="l">
              <a:spcBef>
                <a:spcPts val="600"/>
              </a:spcBef>
              <a:spcAft>
                <a:spcPts val="600"/>
              </a:spcAft>
            </a:pPr>
            <a:r>
              <a:rPr lang="en-GB" sz="2400" i="1" dirty="0" err="1">
                <a:solidFill>
                  <a:schemeClr val="bg1"/>
                </a:solidFill>
              </a:rPr>
              <a:t>Dotun</a:t>
            </a:r>
            <a:r>
              <a:rPr lang="en-GB" sz="2400" i="1" dirty="0">
                <a:solidFill>
                  <a:schemeClr val="bg1"/>
                </a:solidFill>
              </a:rPr>
              <a:t> </a:t>
            </a:r>
            <a:r>
              <a:rPr lang="en-GB" sz="2400" i="1" dirty="0" err="1">
                <a:solidFill>
                  <a:schemeClr val="bg1"/>
                </a:solidFill>
              </a:rPr>
              <a:t>Olaleye</a:t>
            </a:r>
            <a:endParaRPr lang="en-GB" sz="2400" i="1" dirty="0">
              <a:solidFill>
                <a:schemeClr val="bg1"/>
              </a:solidFill>
            </a:endParaRPr>
          </a:p>
          <a:p>
            <a:pPr algn="l">
              <a:spcBef>
                <a:spcPts val="600"/>
              </a:spcBef>
              <a:spcAft>
                <a:spcPts val="600"/>
              </a:spcAft>
            </a:pPr>
            <a:endParaRPr sz="2400" dirty="0">
              <a:solidFill>
                <a:schemeClr val="bg1"/>
              </a:solidFill>
            </a:endParaRPr>
          </a:p>
        </p:txBody>
      </p:sp>
    </p:spTree>
  </p:cSld>
  <p:clrMapOvr>
    <a:masterClrMapping/>
  </p:clrMapOvr>
  <p:timing>
    <p:tnLst>
      <p:par>
        <p:cTn id="1" dur="indefinite" restart="never" nodeType="tmRoot"/>
      </p:par>
    </p:tnLst>
  </p:timing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9D2DF8F-C722-0F1E-4DFA-4CD6680859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790711060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5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D2DF8F-C722-0F1E-4DFA-4CD668085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5B5251DC-A223-39F8-9BC2-1BF6A4C8FB47}"/>
              </a:ext>
            </a:extLst>
          </p:cNvPr>
          <p:cNvSpPr/>
          <p:nvPr/>
        </p:nvSpPr>
        <p:spPr>
          <a:xfrm>
            <a:off x="3176" y="3176"/>
            <a:ext cx="12188824" cy="1414462"/>
          </a:xfrm>
          <a:prstGeom prst="rect">
            <a:avLst/>
          </a:prstGeom>
          <a:gradFill>
            <a:gsLst>
              <a:gs pos="19000">
                <a:srgbClr val="6366AB"/>
              </a:gs>
              <a:gs pos="100000">
                <a:srgbClr val="B5317D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/>
          <a:p>
            <a:r>
              <a:rPr lang="en-US" b="1" spc="-20" dirty="0">
                <a:solidFill>
                  <a:schemeClr val="bg1"/>
                </a:solidFill>
              </a:rPr>
              <a:t>Why Budget as a Family, Not Individually?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25ECD36-9DEB-412A-13CF-C6748D51F0F8}"/>
              </a:ext>
            </a:extLst>
          </p:cNvPr>
          <p:cNvSpPr txBox="1">
            <a:spLocks/>
          </p:cNvSpPr>
          <p:nvPr/>
        </p:nvSpPr>
        <p:spPr>
          <a:xfrm>
            <a:off x="557980" y="4407934"/>
            <a:ext cx="3048000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ligns financial priorities and goals.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7DA79AE-60A0-F6CE-A636-E9A42B459466}"/>
              </a:ext>
            </a:extLst>
          </p:cNvPr>
          <p:cNvSpPr txBox="1">
            <a:spLocks/>
          </p:cNvSpPr>
          <p:nvPr/>
        </p:nvSpPr>
        <p:spPr>
          <a:xfrm>
            <a:off x="4571999" y="4407934"/>
            <a:ext cx="3048000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buSzPts val="3200"/>
              <a:buNone/>
            </a:pPr>
            <a:r>
              <a:rPr lang="en-US" sz="3200" b="0" i="0" u="none" strike="noStrike" kern="120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omotes transparency.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D8881B4-5FD3-E30C-D6DC-A21F8B3FF37C}"/>
              </a:ext>
            </a:extLst>
          </p:cNvPr>
          <p:cNvSpPr txBox="1">
            <a:spLocks/>
          </p:cNvSpPr>
          <p:nvPr/>
        </p:nvSpPr>
        <p:spPr>
          <a:xfrm>
            <a:off x="8586019" y="4407934"/>
            <a:ext cx="3048000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Encourages accountability.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60F47FA-C91F-914F-82B3-E0114D5CFC2C}"/>
              </a:ext>
            </a:extLst>
          </p:cNvPr>
          <p:cNvSpPr/>
          <p:nvPr/>
        </p:nvSpPr>
        <p:spPr>
          <a:xfrm>
            <a:off x="1081802" y="2152407"/>
            <a:ext cx="1826088" cy="1826088"/>
          </a:xfrm>
          <a:prstGeom prst="ellipse">
            <a:avLst/>
          </a:prstGeom>
          <a:solidFill>
            <a:srgbClr val="B53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BDCA7F1-E6FF-D7E2-A205-C58EA44CB160}"/>
              </a:ext>
            </a:extLst>
          </p:cNvPr>
          <p:cNvSpPr/>
          <p:nvPr/>
        </p:nvSpPr>
        <p:spPr>
          <a:xfrm>
            <a:off x="9196977" y="2152407"/>
            <a:ext cx="1826088" cy="1826088"/>
          </a:xfrm>
          <a:prstGeom prst="ellipse">
            <a:avLst/>
          </a:prstGeom>
          <a:solidFill>
            <a:srgbClr val="B53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EA7113C-600D-5736-154F-355DFDEC3E8F}"/>
              </a:ext>
            </a:extLst>
          </p:cNvPr>
          <p:cNvSpPr/>
          <p:nvPr/>
        </p:nvSpPr>
        <p:spPr>
          <a:xfrm>
            <a:off x="5182955" y="2152407"/>
            <a:ext cx="1826088" cy="1826088"/>
          </a:xfrm>
          <a:prstGeom prst="ellipse">
            <a:avLst/>
          </a:prstGeom>
          <a:solidFill>
            <a:srgbClr val="B53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FA7829E-5DF8-0027-058B-598181E4C12E}"/>
              </a:ext>
            </a:extLst>
          </p:cNvPr>
          <p:cNvCxnSpPr>
            <a:cxnSpLocks/>
          </p:cNvCxnSpPr>
          <p:nvPr/>
        </p:nvCxnSpPr>
        <p:spPr>
          <a:xfrm rot="5400000">
            <a:off x="3350326" y="5146598"/>
            <a:ext cx="1477329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A4D15F6-D568-1D7F-F3DF-EC1274DAD61A}"/>
              </a:ext>
            </a:extLst>
          </p:cNvPr>
          <p:cNvCxnSpPr>
            <a:cxnSpLocks/>
          </p:cNvCxnSpPr>
          <p:nvPr/>
        </p:nvCxnSpPr>
        <p:spPr>
          <a:xfrm rot="5400000">
            <a:off x="7364345" y="5146599"/>
            <a:ext cx="1477328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Graphic 5">
            <a:extLst>
              <a:ext uri="{FF2B5EF4-FFF2-40B4-BE49-F238E27FC236}">
                <a16:creationId xmlns:a16="http://schemas.microsoft.com/office/drawing/2014/main" id="{17A269CA-5E51-B77C-052F-262051C5B577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453159" y="2523763"/>
            <a:ext cx="1083374" cy="1083374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461E6046-F8AB-D6E4-FC5B-B2FB398791A0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597220" y="2566672"/>
            <a:ext cx="997559" cy="997559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A52C84C4-B95F-C053-5ED8-69336CBA0E26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536063" y="2491493"/>
            <a:ext cx="1147916" cy="11479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05363215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6A7F9203-B901-0931-E56D-AFA706B5AD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12899927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433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FD04DB74-98A9-B01E-2BF0-CF6F9175F69D}"/>
              </a:ext>
            </a:extLst>
          </p:cNvPr>
          <p:cNvSpPr txBox="1">
            <a:spLocks/>
          </p:cNvSpPr>
          <p:nvPr/>
        </p:nvSpPr>
        <p:spPr>
          <a:xfrm>
            <a:off x="511277" y="2322593"/>
            <a:ext cx="3030793" cy="221599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Setting family financial goals</a:t>
            </a:r>
          </a:p>
        </p:txBody>
      </p:sp>
      <p:pic>
        <p:nvPicPr>
          <p:cNvPr id="5" name="Picture Placeholder 6">
            <a:extLst>
              <a:ext uri="{FF2B5EF4-FFF2-40B4-BE49-F238E27FC236}">
                <a16:creationId xmlns:a16="http://schemas.microsoft.com/office/drawing/2014/main" id="{2EC87429-32F8-CB37-AB27-D16350867F35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667094" y="-7518"/>
            <a:ext cx="4264005" cy="4670554"/>
          </a:xfrm>
          <a:prstGeom prst="rect">
            <a:avLst/>
          </a:prstGeom>
          <a:ln>
            <a:noFill/>
          </a:ln>
        </p:spPr>
      </p:pic>
      <p:pic>
        <p:nvPicPr>
          <p:cNvPr id="8" name="Picture 7">
            <a:extLst>
              <a:ext uri="{FF2B5EF4-FFF2-40B4-BE49-F238E27FC236}">
                <a16:creationId xmlns:a16="http://schemas.microsoft.com/office/drawing/2014/main" id="{D3C8B9C5-E391-CC8D-3FDC-05245921BE58}"/>
              </a:ext>
            </a:extLst>
          </p:cNvPr>
          <p:cNvPicPr>
            <a:picLocks noChangeAspect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924686" y="-7518"/>
            <a:ext cx="4264056" cy="4670425"/>
          </a:xfrm>
          <a:prstGeom prst="rect">
            <a:avLst/>
          </a:prstGeom>
          <a:ln>
            <a:noFill/>
          </a:ln>
        </p:spPr>
      </p:pic>
      <p:grpSp>
        <p:nvGrpSpPr>
          <p:cNvPr id="2" name="Group 1">
            <a:extLst>
              <a:ext uri="{FF2B5EF4-FFF2-40B4-BE49-F238E27FC236}">
                <a16:creationId xmlns:a16="http://schemas.microsoft.com/office/drawing/2014/main" id="{B4E7ECD8-526E-7EB9-37E3-AEB34CF70DCD}"/>
              </a:ext>
            </a:extLst>
          </p:cNvPr>
          <p:cNvGrpSpPr/>
          <p:nvPr/>
        </p:nvGrpSpPr>
        <p:grpSpPr>
          <a:xfrm>
            <a:off x="3667042" y="4657858"/>
            <a:ext cx="8521648" cy="2200142"/>
            <a:chOff x="4071684" y="4657858"/>
            <a:chExt cx="8120266" cy="2200142"/>
          </a:xfrm>
        </p:grpSpPr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81EF81E-AD28-1633-C09F-FFFE3BBD82B6}"/>
                </a:ext>
              </a:extLst>
            </p:cNvPr>
            <p:cNvSpPr/>
            <p:nvPr/>
          </p:nvSpPr>
          <p:spPr>
            <a:xfrm>
              <a:off x="8128737" y="4657858"/>
              <a:ext cx="4063213" cy="2200142"/>
            </a:xfrm>
            <a:prstGeom prst="rect">
              <a:avLst/>
            </a:prstGeom>
            <a:solidFill>
              <a:srgbClr val="D4D5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A9E5B5A-A438-8597-3BD7-0C89EEE9894C}"/>
                </a:ext>
              </a:extLst>
            </p:cNvPr>
            <p:cNvSpPr/>
            <p:nvPr/>
          </p:nvSpPr>
          <p:spPr>
            <a:xfrm>
              <a:off x="4071684" y="4657858"/>
              <a:ext cx="4063213" cy="2200142"/>
            </a:xfrm>
            <a:prstGeom prst="rect">
              <a:avLst/>
            </a:prstGeom>
            <a:solidFill>
              <a:srgbClr val="CD92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59AE422-76A0-5145-BD50-8A350488962C}"/>
                </a:ext>
              </a:extLst>
            </p:cNvPr>
            <p:cNvSpPr txBox="1"/>
            <p:nvPr/>
          </p:nvSpPr>
          <p:spPr>
            <a:xfrm>
              <a:off x="4407226" y="5016816"/>
              <a:ext cx="3392129" cy="110799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US" sz="2400" b="1" dirty="0">
                  <a:latin typeface="Arial" panose="020B0604020202020204" pitchFamily="34" charset="0"/>
                  <a:cs typeface="Arial" panose="020B0604020202020204" pitchFamily="34" charset="0"/>
                </a:rPr>
                <a:t>Examples: </a:t>
              </a:r>
              <a:r>
                <a:rPr lang="en-US" sz="2400" dirty="0">
                  <a:latin typeface="Arial" panose="020B0604020202020204" pitchFamily="34" charset="0"/>
                  <a:cs typeface="Arial" panose="020B0604020202020204" pitchFamily="34" charset="0"/>
                </a:rPr>
                <a:t>Saving for a family holiday, building an emergency fund.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85A376B-FCE8-2597-B480-9B9A9D8C8516}"/>
                </a:ext>
              </a:extLst>
            </p:cNvPr>
            <p:cNvSpPr txBox="1"/>
            <p:nvPr/>
          </p:nvSpPr>
          <p:spPr>
            <a:xfrm>
              <a:off x="8464280" y="5016816"/>
              <a:ext cx="3392129" cy="110799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r>
                <a:rPr lang="en-US" sz="2400" b="1" dirty="0">
                  <a:latin typeface="Arial" panose="020B0604020202020204" pitchFamily="34" charset="0"/>
                  <a:cs typeface="Arial" panose="020B0604020202020204" pitchFamily="34" charset="0"/>
                </a:rPr>
                <a:t>Importance: </a:t>
              </a:r>
              <a:r>
                <a:rPr lang="en-US" sz="2400" dirty="0">
                  <a:latin typeface="Arial" panose="020B0604020202020204" pitchFamily="34" charset="0"/>
                  <a:cs typeface="Arial" panose="020B0604020202020204" pitchFamily="34" charset="0"/>
                </a:rPr>
                <a:t>Provides motivation, measures progres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174667832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9D2DF8F-C722-0F1E-4DFA-4CD6680859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147805930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741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D2DF8F-C722-0F1E-4DFA-4CD668085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5B5251DC-A223-39F8-9BC2-1BF6A4C8FB47}"/>
              </a:ext>
            </a:extLst>
          </p:cNvPr>
          <p:cNvSpPr/>
          <p:nvPr/>
        </p:nvSpPr>
        <p:spPr>
          <a:xfrm>
            <a:off x="3176" y="3176"/>
            <a:ext cx="12188824" cy="1546224"/>
          </a:xfrm>
          <a:prstGeom prst="rect">
            <a:avLst/>
          </a:prstGeom>
          <a:gradFill>
            <a:gsLst>
              <a:gs pos="19000">
                <a:srgbClr val="6366AB"/>
              </a:gs>
              <a:gs pos="100000">
                <a:srgbClr val="B5317D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/>
          <a:p>
            <a:r>
              <a:rPr lang="en-US" sz="3200" b="1" spc="-20" dirty="0">
                <a:solidFill>
                  <a:schemeClr val="bg1"/>
                </a:solidFill>
              </a:rPr>
              <a:t>How to Create a Budget That Actually Works </a:t>
            </a:r>
            <a:br>
              <a:rPr lang="en-US" sz="3200" b="1" spc="-20" dirty="0">
                <a:solidFill>
                  <a:schemeClr val="bg1"/>
                </a:solidFill>
              </a:rPr>
            </a:br>
            <a:r>
              <a:rPr lang="en-US" sz="3200" b="1" spc="-20" dirty="0">
                <a:solidFill>
                  <a:schemeClr val="bg1"/>
                </a:solidFill>
              </a:rPr>
              <a:t>(50/30/20 Rule)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25ECD36-9DEB-412A-13CF-C6748D51F0F8}"/>
              </a:ext>
            </a:extLst>
          </p:cNvPr>
          <p:cNvSpPr txBox="1">
            <a:spLocks/>
          </p:cNvSpPr>
          <p:nvPr/>
        </p:nvSpPr>
        <p:spPr>
          <a:xfrm>
            <a:off x="557980" y="4955900"/>
            <a:ext cx="3048000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Essentials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(rent, utilities, groceries).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7DA79AE-60A0-F6CE-A636-E9A42B459466}"/>
              </a:ext>
            </a:extLst>
          </p:cNvPr>
          <p:cNvSpPr txBox="1">
            <a:spLocks/>
          </p:cNvSpPr>
          <p:nvPr/>
        </p:nvSpPr>
        <p:spPr>
          <a:xfrm>
            <a:off x="4571999" y="4955900"/>
            <a:ext cx="3048000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buSzPts val="3200"/>
              <a:buNone/>
            </a:pPr>
            <a:r>
              <a:rPr lang="en-US" sz="2800" b="1" i="0" u="none" strike="noStrike" kern="120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nts</a:t>
            </a:r>
            <a:r>
              <a:rPr lang="en-US" sz="2800" b="0" i="0" u="none" strike="noStrike" kern="120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(entertainment, hobbies).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D8881B4-5FD3-E30C-D6DC-A21F8B3FF37C}"/>
              </a:ext>
            </a:extLst>
          </p:cNvPr>
          <p:cNvSpPr txBox="1">
            <a:spLocks/>
          </p:cNvSpPr>
          <p:nvPr/>
        </p:nvSpPr>
        <p:spPr>
          <a:xfrm>
            <a:off x="8586019" y="4955900"/>
            <a:ext cx="3048000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Savings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and debt repayment.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FA7829E-5DF8-0027-058B-598181E4C12E}"/>
              </a:ext>
            </a:extLst>
          </p:cNvPr>
          <p:cNvCxnSpPr>
            <a:cxnSpLocks/>
          </p:cNvCxnSpPr>
          <p:nvPr/>
        </p:nvCxnSpPr>
        <p:spPr>
          <a:xfrm rot="5400000">
            <a:off x="3350326" y="5694564"/>
            <a:ext cx="1477329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A4D15F6-D568-1D7F-F3DF-EC1274DAD61A}"/>
              </a:ext>
            </a:extLst>
          </p:cNvPr>
          <p:cNvCxnSpPr>
            <a:cxnSpLocks/>
          </p:cNvCxnSpPr>
          <p:nvPr/>
        </p:nvCxnSpPr>
        <p:spPr>
          <a:xfrm rot="5400000">
            <a:off x="7364345" y="5694565"/>
            <a:ext cx="1477328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C275C704-BF46-B5A6-1C6D-CC84A8C328D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547592947"/>
              </p:ext>
            </p:extLst>
          </p:nvPr>
        </p:nvGraphicFramePr>
        <p:xfrm>
          <a:off x="103364" y="2207485"/>
          <a:ext cx="3782964" cy="25219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44A6C89E-994C-C7E1-9262-9BEAED4C46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806867027"/>
              </p:ext>
            </p:extLst>
          </p:nvPr>
        </p:nvGraphicFramePr>
        <p:xfrm>
          <a:off x="4204517" y="2207485"/>
          <a:ext cx="3782964" cy="25219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F0B7552F-64E6-5F4B-AA15-BBD6CE6477D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417033905"/>
              </p:ext>
            </p:extLst>
          </p:nvPr>
        </p:nvGraphicFramePr>
        <p:xfrm>
          <a:off x="8218536" y="2207485"/>
          <a:ext cx="3782964" cy="25219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cxnSp>
        <p:nvCxnSpPr>
          <p:cNvPr id="26" name="Straight Connector 25">
            <a:extLst>
              <a:ext uri="{FF2B5EF4-FFF2-40B4-BE49-F238E27FC236}">
                <a16:creationId xmlns:a16="http://schemas.microsoft.com/office/drawing/2014/main" id="{790F11FF-E516-A498-2472-ADD1C5053666}"/>
              </a:ext>
            </a:extLst>
          </p:cNvPr>
          <p:cNvCxnSpPr/>
          <p:nvPr/>
        </p:nvCxnSpPr>
        <p:spPr>
          <a:xfrm>
            <a:off x="609600" y="1956619"/>
            <a:ext cx="109728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62C8DA5-34ED-93B9-87DD-C84BAD8544A3}"/>
              </a:ext>
            </a:extLst>
          </p:cNvPr>
          <p:cNvSpPr txBox="1">
            <a:spLocks/>
          </p:cNvSpPr>
          <p:nvPr/>
        </p:nvSpPr>
        <p:spPr>
          <a:xfrm>
            <a:off x="4460158" y="1695009"/>
            <a:ext cx="3271684" cy="523220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>
            <a:no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400" b="1" dirty="0">
                <a:solidFill>
                  <a:srgbClr val="B531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llocate net income</a:t>
            </a:r>
          </a:p>
        </p:txBody>
      </p:sp>
      <p:sp>
        <p:nvSpPr>
          <p:cNvPr id="4" name="Oval 3">
            <a:extLst>
              <a:ext uri="{FF2B5EF4-FFF2-40B4-BE49-F238E27FC236}">
                <a16:creationId xmlns:a16="http://schemas.microsoft.com/office/drawing/2014/main" id="{71DE8E6E-998E-5D98-5442-B144DB1488CD}"/>
              </a:ext>
            </a:extLst>
          </p:cNvPr>
          <p:cNvSpPr/>
          <p:nvPr/>
        </p:nvSpPr>
        <p:spPr>
          <a:xfrm>
            <a:off x="1309866" y="2783493"/>
            <a:ext cx="1369960" cy="13699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297CCB0-227A-52AB-1E3D-442C2DEB7716}"/>
              </a:ext>
            </a:extLst>
          </p:cNvPr>
          <p:cNvSpPr/>
          <p:nvPr/>
        </p:nvSpPr>
        <p:spPr>
          <a:xfrm>
            <a:off x="5411019" y="2783493"/>
            <a:ext cx="1369960" cy="13699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5C173A2-04AA-2235-BFE0-76841AA83536}"/>
              </a:ext>
            </a:extLst>
          </p:cNvPr>
          <p:cNvSpPr/>
          <p:nvPr/>
        </p:nvSpPr>
        <p:spPr>
          <a:xfrm>
            <a:off x="9425040" y="2783493"/>
            <a:ext cx="1369960" cy="13699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4287A7F-24BC-0721-13F4-CA4D7A25A4A2}"/>
              </a:ext>
            </a:extLst>
          </p:cNvPr>
          <p:cNvSpPr txBox="1"/>
          <p:nvPr/>
        </p:nvSpPr>
        <p:spPr>
          <a:xfrm>
            <a:off x="2915690" y="2265387"/>
            <a:ext cx="801823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21BD10B-CCE1-0994-AEA7-92568530CD40}"/>
              </a:ext>
            </a:extLst>
          </p:cNvPr>
          <p:cNvSpPr txBox="1"/>
          <p:nvPr/>
        </p:nvSpPr>
        <p:spPr>
          <a:xfrm>
            <a:off x="7044423" y="2265387"/>
            <a:ext cx="801823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E6CCFF5-D357-5DD4-1FBF-0926EC30FF2C}"/>
              </a:ext>
            </a:extLst>
          </p:cNvPr>
          <p:cNvSpPr txBox="1"/>
          <p:nvPr/>
        </p:nvSpPr>
        <p:spPr>
          <a:xfrm>
            <a:off x="10959238" y="2265387"/>
            <a:ext cx="801823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%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8E9A50F1-CAEA-8289-C061-ECBFA59835F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551309" y="3024936"/>
            <a:ext cx="887074" cy="887074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D4A46104-9C64-5E51-85BC-2CACC3408EDE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765114" y="3137588"/>
            <a:ext cx="661770" cy="661770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66E1B949-AB8E-F1C8-DDBC-1BCC25E598A1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751427" y="3109881"/>
            <a:ext cx="717185" cy="717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9101577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9D2DF8F-C722-0F1E-4DFA-4CD6680859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647854714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9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D2DF8F-C722-0F1E-4DFA-4CD668085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5B5251DC-A223-39F8-9BC2-1BF6A4C8FB47}"/>
              </a:ext>
            </a:extLst>
          </p:cNvPr>
          <p:cNvSpPr/>
          <p:nvPr/>
        </p:nvSpPr>
        <p:spPr>
          <a:xfrm>
            <a:off x="3176" y="3176"/>
            <a:ext cx="12188824" cy="1546224"/>
          </a:xfrm>
          <a:prstGeom prst="rect">
            <a:avLst/>
          </a:prstGeom>
          <a:gradFill>
            <a:gsLst>
              <a:gs pos="19000">
                <a:srgbClr val="6366AB"/>
              </a:gs>
              <a:gs pos="100000">
                <a:srgbClr val="B5317D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60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/>
          <a:p>
            <a:r>
              <a:rPr lang="en-US" b="1" spc="-20" dirty="0">
                <a:solidFill>
                  <a:schemeClr val="bg1"/>
                </a:solidFill>
              </a:rPr>
              <a:t>Example Budget Plan (£60k Joint Net Income)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25ECD36-9DEB-412A-13CF-C6748D51F0F8}"/>
              </a:ext>
            </a:extLst>
          </p:cNvPr>
          <p:cNvSpPr txBox="1">
            <a:spLocks/>
          </p:cNvSpPr>
          <p:nvPr/>
        </p:nvSpPr>
        <p:spPr>
          <a:xfrm>
            <a:off x="557980" y="4955900"/>
            <a:ext cx="304800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Essentials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£2,500/month.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7DA79AE-60A0-F6CE-A636-E9A42B459466}"/>
              </a:ext>
            </a:extLst>
          </p:cNvPr>
          <p:cNvSpPr txBox="1">
            <a:spLocks/>
          </p:cNvSpPr>
          <p:nvPr/>
        </p:nvSpPr>
        <p:spPr>
          <a:xfrm>
            <a:off x="4571999" y="4955900"/>
            <a:ext cx="304800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buSzPts val="3200"/>
              <a:buNone/>
            </a:pPr>
            <a:r>
              <a:rPr lang="en-US" sz="2800" b="1" i="0" u="none" strike="noStrike" kern="120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Wants</a:t>
            </a:r>
            <a:r>
              <a:rPr lang="en-US" sz="2800" b="0" i="0" u="none" strike="noStrike" kern="120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£1,500/month.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D8881B4-5FD3-E30C-D6DC-A21F8B3FF37C}"/>
              </a:ext>
            </a:extLst>
          </p:cNvPr>
          <p:cNvSpPr txBox="1">
            <a:spLocks/>
          </p:cNvSpPr>
          <p:nvPr/>
        </p:nvSpPr>
        <p:spPr>
          <a:xfrm>
            <a:off x="8586019" y="4955900"/>
            <a:ext cx="304800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Savings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b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: £1,000/month.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FA7829E-5DF8-0027-058B-598181E4C12E}"/>
              </a:ext>
            </a:extLst>
          </p:cNvPr>
          <p:cNvCxnSpPr>
            <a:cxnSpLocks/>
          </p:cNvCxnSpPr>
          <p:nvPr/>
        </p:nvCxnSpPr>
        <p:spPr>
          <a:xfrm rot="5400000">
            <a:off x="3658103" y="5386787"/>
            <a:ext cx="861775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A4D15F6-D568-1D7F-F3DF-EC1274DAD61A}"/>
              </a:ext>
            </a:extLst>
          </p:cNvPr>
          <p:cNvCxnSpPr>
            <a:cxnSpLocks/>
          </p:cNvCxnSpPr>
          <p:nvPr/>
        </p:nvCxnSpPr>
        <p:spPr>
          <a:xfrm rot="5400000">
            <a:off x="7672122" y="5386789"/>
            <a:ext cx="861775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aphicFrame>
        <p:nvGraphicFramePr>
          <p:cNvPr id="20" name="Chart 19">
            <a:extLst>
              <a:ext uri="{FF2B5EF4-FFF2-40B4-BE49-F238E27FC236}">
                <a16:creationId xmlns:a16="http://schemas.microsoft.com/office/drawing/2014/main" id="{C275C704-BF46-B5A6-1C6D-CC84A8C328D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1928299671"/>
              </p:ext>
            </p:extLst>
          </p:nvPr>
        </p:nvGraphicFramePr>
        <p:xfrm>
          <a:off x="103364" y="2207485"/>
          <a:ext cx="3782964" cy="25219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6"/>
          </a:graphicData>
        </a:graphic>
      </p:graphicFrame>
      <p:graphicFrame>
        <p:nvGraphicFramePr>
          <p:cNvPr id="24" name="Chart 23">
            <a:extLst>
              <a:ext uri="{FF2B5EF4-FFF2-40B4-BE49-F238E27FC236}">
                <a16:creationId xmlns:a16="http://schemas.microsoft.com/office/drawing/2014/main" id="{44A6C89E-994C-C7E1-9262-9BEAED4C4665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405230462"/>
              </p:ext>
            </p:extLst>
          </p:nvPr>
        </p:nvGraphicFramePr>
        <p:xfrm>
          <a:off x="4204517" y="2207485"/>
          <a:ext cx="3782964" cy="25219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7"/>
          </a:graphicData>
        </a:graphic>
      </p:graphicFrame>
      <p:graphicFrame>
        <p:nvGraphicFramePr>
          <p:cNvPr id="25" name="Chart 24">
            <a:extLst>
              <a:ext uri="{FF2B5EF4-FFF2-40B4-BE49-F238E27FC236}">
                <a16:creationId xmlns:a16="http://schemas.microsoft.com/office/drawing/2014/main" id="{F0B7552F-64E6-5F4B-AA15-BBD6CE6477DB}"/>
              </a:ext>
            </a:extLst>
          </p:cNvPr>
          <p:cNvGraphicFramePr/>
          <p:nvPr>
            <p:extLst>
              <p:ext uri="{D42A27DB-BD31-4B8C-83A1-F6EECF244321}">
                <p14:modId xmlns:p14="http://schemas.microsoft.com/office/powerpoint/2010/main" val="2508300572"/>
              </p:ext>
            </p:extLst>
          </p:nvPr>
        </p:nvGraphicFramePr>
        <p:xfrm>
          <a:off x="8218536" y="2207485"/>
          <a:ext cx="3782964" cy="2521976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8"/>
          </a:graphicData>
        </a:graphic>
      </p:graphicFrame>
      <p:sp>
        <p:nvSpPr>
          <p:cNvPr id="4" name="Oval 3">
            <a:extLst>
              <a:ext uri="{FF2B5EF4-FFF2-40B4-BE49-F238E27FC236}">
                <a16:creationId xmlns:a16="http://schemas.microsoft.com/office/drawing/2014/main" id="{71DE8E6E-998E-5D98-5442-B144DB1488CD}"/>
              </a:ext>
            </a:extLst>
          </p:cNvPr>
          <p:cNvSpPr/>
          <p:nvPr/>
        </p:nvSpPr>
        <p:spPr>
          <a:xfrm>
            <a:off x="1309866" y="2783493"/>
            <a:ext cx="1369960" cy="13699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" name="Oval 5">
            <a:extLst>
              <a:ext uri="{FF2B5EF4-FFF2-40B4-BE49-F238E27FC236}">
                <a16:creationId xmlns:a16="http://schemas.microsoft.com/office/drawing/2014/main" id="{6297CCB0-227A-52AB-1E3D-442C2DEB7716}"/>
              </a:ext>
            </a:extLst>
          </p:cNvPr>
          <p:cNvSpPr/>
          <p:nvPr/>
        </p:nvSpPr>
        <p:spPr>
          <a:xfrm>
            <a:off x="5411019" y="2783493"/>
            <a:ext cx="1369960" cy="13699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7" name="Oval 6">
            <a:extLst>
              <a:ext uri="{FF2B5EF4-FFF2-40B4-BE49-F238E27FC236}">
                <a16:creationId xmlns:a16="http://schemas.microsoft.com/office/drawing/2014/main" id="{C5C173A2-04AA-2235-BFE0-76841AA83536}"/>
              </a:ext>
            </a:extLst>
          </p:cNvPr>
          <p:cNvSpPr/>
          <p:nvPr/>
        </p:nvSpPr>
        <p:spPr>
          <a:xfrm>
            <a:off x="9425040" y="2783493"/>
            <a:ext cx="1369960" cy="1369960"/>
          </a:xfrm>
          <a:prstGeom prst="ellipse">
            <a:avLst/>
          </a:prstGeom>
          <a:solidFill>
            <a:schemeClr val="bg1"/>
          </a:solidFill>
          <a:ln>
            <a:noFill/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wrap="none" rtlCol="0" anchor="ctr"/>
          <a:lstStyle/>
          <a:p>
            <a:pPr algn="ctr"/>
            <a:endParaRPr lang="en-US" sz="2000" b="1" dirty="0">
              <a:solidFill>
                <a:schemeClr val="tx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64287A7F-24BC-0721-13F4-CA4D7A25A4A2}"/>
              </a:ext>
            </a:extLst>
          </p:cNvPr>
          <p:cNvSpPr txBox="1"/>
          <p:nvPr/>
        </p:nvSpPr>
        <p:spPr>
          <a:xfrm>
            <a:off x="2915690" y="2265387"/>
            <a:ext cx="801823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0%</a:t>
            </a:r>
          </a:p>
        </p:txBody>
      </p:sp>
      <p:sp>
        <p:nvSpPr>
          <p:cNvPr id="14" name="TextBox 13">
            <a:extLst>
              <a:ext uri="{FF2B5EF4-FFF2-40B4-BE49-F238E27FC236}">
                <a16:creationId xmlns:a16="http://schemas.microsoft.com/office/drawing/2014/main" id="{221BD10B-CCE1-0994-AEA7-92568530CD40}"/>
              </a:ext>
            </a:extLst>
          </p:cNvPr>
          <p:cNvSpPr txBox="1"/>
          <p:nvPr/>
        </p:nvSpPr>
        <p:spPr>
          <a:xfrm>
            <a:off x="7044423" y="2265387"/>
            <a:ext cx="801823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0%</a:t>
            </a:r>
          </a:p>
        </p:txBody>
      </p:sp>
      <p:sp>
        <p:nvSpPr>
          <p:cNvPr id="15" name="TextBox 14">
            <a:extLst>
              <a:ext uri="{FF2B5EF4-FFF2-40B4-BE49-F238E27FC236}">
                <a16:creationId xmlns:a16="http://schemas.microsoft.com/office/drawing/2014/main" id="{5E6CCFF5-D357-5DD4-1FBF-0926EC30FF2C}"/>
              </a:ext>
            </a:extLst>
          </p:cNvPr>
          <p:cNvSpPr txBox="1"/>
          <p:nvPr/>
        </p:nvSpPr>
        <p:spPr>
          <a:xfrm>
            <a:off x="10997338" y="2265387"/>
            <a:ext cx="801823" cy="461665"/>
          </a:xfrm>
          <a:prstGeom prst="rect">
            <a:avLst/>
          </a:prstGeom>
          <a:noFill/>
        </p:spPr>
        <p:txBody>
          <a:bodyPr wrap="none">
            <a:spAutoFit/>
          </a:bodyPr>
          <a:lstStyle/>
          <a:p>
            <a:pPr algn="ctr"/>
            <a:r>
              <a:rPr lang="en-US" sz="2400" b="1" dirty="0">
                <a:solidFill>
                  <a:schemeClr val="tx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0%</a:t>
            </a:r>
          </a:p>
        </p:txBody>
      </p:sp>
      <p:pic>
        <p:nvPicPr>
          <p:cNvPr id="17" name="Graphic 16">
            <a:extLst>
              <a:ext uri="{FF2B5EF4-FFF2-40B4-BE49-F238E27FC236}">
                <a16:creationId xmlns:a16="http://schemas.microsoft.com/office/drawing/2014/main" id="{8E9A50F1-CAEA-8289-C061-ECBFA59835F2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1551309" y="3024936"/>
            <a:ext cx="887074" cy="887074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D4A46104-9C64-5E51-85BC-2CACC3408EDE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765114" y="3137588"/>
            <a:ext cx="661770" cy="661770"/>
          </a:xfrm>
          <a:prstGeom prst="rect">
            <a:avLst/>
          </a:prstGeom>
        </p:spPr>
      </p:pic>
      <p:pic>
        <p:nvPicPr>
          <p:cNvPr id="27" name="Graphic 26">
            <a:extLst>
              <a:ext uri="{FF2B5EF4-FFF2-40B4-BE49-F238E27FC236}">
                <a16:creationId xmlns:a16="http://schemas.microsoft.com/office/drawing/2014/main" id="{66E1B949-AB8E-F1C8-DDBC-1BCC25E598A1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9751427" y="3109881"/>
            <a:ext cx="717185" cy="7171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67774341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9D2DF8F-C722-0F1E-4DFA-4CD6680859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0245534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4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D2DF8F-C722-0F1E-4DFA-4CD668085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4D540087-E4BE-DFE2-03CF-4E38B82A826C}"/>
              </a:ext>
            </a:extLst>
          </p:cNvPr>
          <p:cNvSpPr/>
          <p:nvPr/>
        </p:nvSpPr>
        <p:spPr>
          <a:xfrm>
            <a:off x="3176" y="3176"/>
            <a:ext cx="12188824" cy="1546224"/>
          </a:xfrm>
          <a:prstGeom prst="rect">
            <a:avLst/>
          </a:prstGeom>
          <a:gradFill>
            <a:gsLst>
              <a:gs pos="19000">
                <a:srgbClr val="6366AB"/>
              </a:gs>
              <a:gs pos="100000">
                <a:srgbClr val="B5317D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/>
          <a:p>
            <a:r>
              <a:rPr lang="en-US" b="1" spc="-20" dirty="0">
                <a:solidFill>
                  <a:schemeClr val="bg1"/>
                </a:solidFill>
              </a:rPr>
              <a:t>Why Do We Need to Save?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25ECD36-9DEB-412A-13CF-C6748D51F0F8}"/>
              </a:ext>
            </a:extLst>
          </p:cNvPr>
          <p:cNvSpPr txBox="1">
            <a:spLocks/>
          </p:cNvSpPr>
          <p:nvPr/>
        </p:nvSpPr>
        <p:spPr>
          <a:xfrm>
            <a:off x="557980" y="4407934"/>
            <a:ext cx="3048000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epare for emergencies.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7DA79AE-60A0-F6CE-A636-E9A42B459466}"/>
              </a:ext>
            </a:extLst>
          </p:cNvPr>
          <p:cNvSpPr txBox="1">
            <a:spLocks/>
          </p:cNvSpPr>
          <p:nvPr/>
        </p:nvSpPr>
        <p:spPr>
          <a:xfrm>
            <a:off x="4571999" y="4407934"/>
            <a:ext cx="3048000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buSzPts val="3200"/>
              <a:buNone/>
            </a:pPr>
            <a:r>
              <a:rPr lang="en-US" sz="3200" b="0" i="0" u="none" strike="noStrike" kern="120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nd </a:t>
            </a:r>
            <a:br>
              <a:rPr lang="en-US" sz="3200" b="0" i="0" u="none" strike="noStrike" kern="120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3200" b="0" i="0" u="none" strike="noStrike" kern="120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future goals.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D8881B4-5FD3-E30C-D6DC-A21F8B3FF37C}"/>
              </a:ext>
            </a:extLst>
          </p:cNvPr>
          <p:cNvSpPr txBox="1">
            <a:spLocks/>
          </p:cNvSpPr>
          <p:nvPr/>
        </p:nvSpPr>
        <p:spPr>
          <a:xfrm>
            <a:off x="8586019" y="4407934"/>
            <a:ext cx="3048000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chieve financial independence.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60F47FA-C91F-914F-82B3-E0114D5CFC2C}"/>
              </a:ext>
            </a:extLst>
          </p:cNvPr>
          <p:cNvSpPr/>
          <p:nvPr/>
        </p:nvSpPr>
        <p:spPr>
          <a:xfrm>
            <a:off x="1081802" y="2152407"/>
            <a:ext cx="1826088" cy="1826088"/>
          </a:xfrm>
          <a:prstGeom prst="ellipse">
            <a:avLst/>
          </a:prstGeom>
          <a:solidFill>
            <a:srgbClr val="B53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BDCA7F1-E6FF-D7E2-A205-C58EA44CB160}"/>
              </a:ext>
            </a:extLst>
          </p:cNvPr>
          <p:cNvSpPr/>
          <p:nvPr/>
        </p:nvSpPr>
        <p:spPr>
          <a:xfrm>
            <a:off x="9196977" y="2152407"/>
            <a:ext cx="1826088" cy="1826088"/>
          </a:xfrm>
          <a:prstGeom prst="ellipse">
            <a:avLst/>
          </a:prstGeom>
          <a:solidFill>
            <a:srgbClr val="B53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EA7113C-600D-5736-154F-355DFDEC3E8F}"/>
              </a:ext>
            </a:extLst>
          </p:cNvPr>
          <p:cNvSpPr/>
          <p:nvPr/>
        </p:nvSpPr>
        <p:spPr>
          <a:xfrm>
            <a:off x="5182955" y="2152407"/>
            <a:ext cx="1826088" cy="1826088"/>
          </a:xfrm>
          <a:prstGeom prst="ellipse">
            <a:avLst/>
          </a:prstGeom>
          <a:solidFill>
            <a:srgbClr val="B53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FA7829E-5DF8-0027-058B-598181E4C12E}"/>
              </a:ext>
            </a:extLst>
          </p:cNvPr>
          <p:cNvCxnSpPr>
            <a:cxnSpLocks/>
          </p:cNvCxnSpPr>
          <p:nvPr/>
        </p:nvCxnSpPr>
        <p:spPr>
          <a:xfrm rot="5400000">
            <a:off x="3596548" y="4900378"/>
            <a:ext cx="984884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A4D15F6-D568-1D7F-F3DF-EC1274DAD61A}"/>
              </a:ext>
            </a:extLst>
          </p:cNvPr>
          <p:cNvCxnSpPr>
            <a:cxnSpLocks/>
          </p:cNvCxnSpPr>
          <p:nvPr/>
        </p:nvCxnSpPr>
        <p:spPr>
          <a:xfrm rot="5400000">
            <a:off x="7610567" y="4900378"/>
            <a:ext cx="984885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7D715B5C-EC9A-AA60-833B-E2F8E842475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508312" y="2578916"/>
            <a:ext cx="973068" cy="973068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B5E9DB19-3B8C-3593-0B80-FD704C24B1CC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581023" y="2550475"/>
            <a:ext cx="1029950" cy="1029950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CCE6736A-A030-B952-CA67-56AC4A7F54D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617577" y="2573007"/>
            <a:ext cx="984887" cy="984887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8553463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9D2DF8F-C722-0F1E-4DFA-4CD6680859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744645938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945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D2DF8F-C722-0F1E-4DFA-4CD668085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Rectangle 2">
            <a:extLst>
              <a:ext uri="{FF2B5EF4-FFF2-40B4-BE49-F238E27FC236}">
                <a16:creationId xmlns:a16="http://schemas.microsoft.com/office/drawing/2014/main" id="{C629AF32-F029-4755-AC7C-6C11A8E49A76}"/>
              </a:ext>
            </a:extLst>
          </p:cNvPr>
          <p:cNvSpPr/>
          <p:nvPr/>
        </p:nvSpPr>
        <p:spPr>
          <a:xfrm>
            <a:off x="3176" y="3176"/>
            <a:ext cx="12188824" cy="1546224"/>
          </a:xfrm>
          <a:prstGeom prst="rect">
            <a:avLst/>
          </a:prstGeom>
          <a:gradFill>
            <a:gsLst>
              <a:gs pos="19000">
                <a:srgbClr val="6366AB"/>
              </a:gs>
              <a:gs pos="100000">
                <a:srgbClr val="B5317D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/>
          <a:p>
            <a:r>
              <a:rPr lang="en-US" b="1" spc="-20" dirty="0">
                <a:solidFill>
                  <a:schemeClr val="bg1"/>
                </a:solidFill>
              </a:rPr>
              <a:t>Making Saving a Habit, Not a Task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25ECD36-9DEB-412A-13CF-C6748D51F0F8}"/>
              </a:ext>
            </a:extLst>
          </p:cNvPr>
          <p:cNvSpPr txBox="1">
            <a:spLocks/>
          </p:cNvSpPr>
          <p:nvPr/>
        </p:nvSpPr>
        <p:spPr>
          <a:xfrm>
            <a:off x="557980" y="4407934"/>
            <a:ext cx="3048000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Automate 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savings.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7DA79AE-60A0-F6CE-A636-E9A42B459466}"/>
              </a:ext>
            </a:extLst>
          </p:cNvPr>
          <p:cNvSpPr txBox="1">
            <a:spLocks/>
          </p:cNvSpPr>
          <p:nvPr/>
        </p:nvSpPr>
        <p:spPr>
          <a:xfrm>
            <a:off x="4571999" y="4407934"/>
            <a:ext cx="3048000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buSzPts val="3200"/>
              <a:buNone/>
            </a:pPr>
            <a:r>
              <a:rPr lang="en-US" sz="3200" b="0" i="0" u="none" strike="noStrike" kern="120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Start small and increase over time.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D8881B4-5FD3-E30C-D6DC-A21F8B3FF37C}"/>
              </a:ext>
            </a:extLst>
          </p:cNvPr>
          <p:cNvSpPr txBox="1">
            <a:spLocks/>
          </p:cNvSpPr>
          <p:nvPr/>
        </p:nvSpPr>
        <p:spPr>
          <a:xfrm>
            <a:off x="8586019" y="4407934"/>
            <a:ext cx="3048000" cy="98488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Track </a:t>
            </a:r>
            <a:b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dirty="0">
                <a:latin typeface="Arial" panose="020B0604020202020204" pitchFamily="34" charset="0"/>
                <a:cs typeface="Arial" panose="020B0604020202020204" pitchFamily="34" charset="0"/>
              </a:rPr>
              <a:t>progress.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60F47FA-C91F-914F-82B3-E0114D5CFC2C}"/>
              </a:ext>
            </a:extLst>
          </p:cNvPr>
          <p:cNvSpPr/>
          <p:nvPr/>
        </p:nvSpPr>
        <p:spPr>
          <a:xfrm>
            <a:off x="1081802" y="2152407"/>
            <a:ext cx="1826088" cy="1826088"/>
          </a:xfrm>
          <a:prstGeom prst="ellipse">
            <a:avLst/>
          </a:prstGeom>
          <a:solidFill>
            <a:srgbClr val="B53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BDCA7F1-E6FF-D7E2-A205-C58EA44CB160}"/>
              </a:ext>
            </a:extLst>
          </p:cNvPr>
          <p:cNvSpPr/>
          <p:nvPr/>
        </p:nvSpPr>
        <p:spPr>
          <a:xfrm>
            <a:off x="9196977" y="2152407"/>
            <a:ext cx="1826088" cy="1826088"/>
          </a:xfrm>
          <a:prstGeom prst="ellipse">
            <a:avLst/>
          </a:prstGeom>
          <a:solidFill>
            <a:srgbClr val="B53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EA7113C-600D-5736-154F-355DFDEC3E8F}"/>
              </a:ext>
            </a:extLst>
          </p:cNvPr>
          <p:cNvSpPr/>
          <p:nvPr/>
        </p:nvSpPr>
        <p:spPr>
          <a:xfrm>
            <a:off x="5182955" y="2152407"/>
            <a:ext cx="1826088" cy="1826088"/>
          </a:xfrm>
          <a:prstGeom prst="ellipse">
            <a:avLst/>
          </a:prstGeom>
          <a:solidFill>
            <a:srgbClr val="B53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FA7829E-5DF8-0027-058B-598181E4C12E}"/>
              </a:ext>
            </a:extLst>
          </p:cNvPr>
          <p:cNvCxnSpPr>
            <a:cxnSpLocks/>
          </p:cNvCxnSpPr>
          <p:nvPr/>
        </p:nvCxnSpPr>
        <p:spPr>
          <a:xfrm rot="5400000">
            <a:off x="3350327" y="5146599"/>
            <a:ext cx="1477327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A4D15F6-D568-1D7F-F3DF-EC1274DAD61A}"/>
              </a:ext>
            </a:extLst>
          </p:cNvPr>
          <p:cNvCxnSpPr>
            <a:cxnSpLocks/>
          </p:cNvCxnSpPr>
          <p:nvPr/>
        </p:nvCxnSpPr>
        <p:spPr>
          <a:xfrm rot="5400000">
            <a:off x="7364345" y="5146600"/>
            <a:ext cx="1477328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6" name="Graphic 5">
            <a:extLst>
              <a:ext uri="{FF2B5EF4-FFF2-40B4-BE49-F238E27FC236}">
                <a16:creationId xmlns:a16="http://schemas.microsoft.com/office/drawing/2014/main" id="{B0385403-6C5E-740E-EAFC-9287F4BC04F2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463290" y="2533895"/>
            <a:ext cx="1063113" cy="1063113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67C41E76-A344-7BF2-7FD5-52F94B138B45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568069" y="2537520"/>
            <a:ext cx="1055861" cy="1055861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490C6F69-0F91-089E-51D7-BE0177B6E7B9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617579" y="2573008"/>
            <a:ext cx="984885" cy="9848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43035639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think-cell data - do not delete" hidden="1">
            <a:extLst>
              <a:ext uri="{FF2B5EF4-FFF2-40B4-BE49-F238E27FC236}">
                <a16:creationId xmlns:a16="http://schemas.microsoft.com/office/drawing/2014/main" id="{6A7F9203-B901-0931-E56D-AFA706B5AD4A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150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14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A7F9203-B901-0931-E56D-AFA706B5AD4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9" name="Title 1">
            <a:extLst>
              <a:ext uri="{FF2B5EF4-FFF2-40B4-BE49-F238E27FC236}">
                <a16:creationId xmlns:a16="http://schemas.microsoft.com/office/drawing/2014/main" id="{FD04DB74-98A9-B01E-2BF0-CF6F9175F69D}"/>
              </a:ext>
            </a:extLst>
          </p:cNvPr>
          <p:cNvSpPr txBox="1">
            <a:spLocks/>
          </p:cNvSpPr>
          <p:nvPr/>
        </p:nvSpPr>
        <p:spPr>
          <a:xfrm>
            <a:off x="511277" y="2322593"/>
            <a:ext cx="3030793" cy="2215991"/>
          </a:xfrm>
          <a:prstGeom prst="rect">
            <a:avLst/>
          </a:prstGeom>
        </p:spPr>
        <p:txBody>
          <a:bodyPr vert="horz" wrap="square" lIns="0" tIns="0" rIns="0" bIns="0" rtlCol="0" anchor="ctr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Savings </a:t>
            </a:r>
            <a:b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b="1" dirty="0">
                <a:latin typeface="Arial" panose="020B0604020202020204" pitchFamily="34" charset="0"/>
                <a:cs typeface="Arial" panose="020B0604020202020204" pitchFamily="34" charset="0"/>
              </a:rPr>
              <a:t>Tips and Investment Options</a:t>
            </a:r>
          </a:p>
        </p:txBody>
      </p:sp>
      <p:grpSp>
        <p:nvGrpSpPr>
          <p:cNvPr id="2" name="Group 1">
            <a:extLst>
              <a:ext uri="{FF2B5EF4-FFF2-40B4-BE49-F238E27FC236}">
                <a16:creationId xmlns:a16="http://schemas.microsoft.com/office/drawing/2014/main" id="{9EF444BF-4402-5473-009D-E07D2030FDCB}"/>
              </a:ext>
            </a:extLst>
          </p:cNvPr>
          <p:cNvGrpSpPr/>
          <p:nvPr/>
        </p:nvGrpSpPr>
        <p:grpSpPr>
          <a:xfrm>
            <a:off x="3771900" y="-7518"/>
            <a:ext cx="8420100" cy="6865518"/>
            <a:chOff x="4071684" y="-7518"/>
            <a:chExt cx="8120316" cy="6865518"/>
          </a:xfrm>
        </p:grpSpPr>
        <p:pic>
          <p:nvPicPr>
            <p:cNvPr id="5" name="Picture Placeholder 6">
              <a:extLst>
                <a:ext uri="{FF2B5EF4-FFF2-40B4-BE49-F238E27FC236}">
                  <a16:creationId xmlns:a16="http://schemas.microsoft.com/office/drawing/2014/main" id="{2EC87429-32F8-CB37-AB27-D16350867F35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4071717" y="-7518"/>
              <a:ext cx="2709489" cy="4670554"/>
            </a:xfrm>
            <a:prstGeom prst="rect">
              <a:avLst/>
            </a:prstGeom>
            <a:ln>
              <a:noFill/>
            </a:ln>
          </p:spPr>
        </p:pic>
        <p:sp>
          <p:nvSpPr>
            <p:cNvPr id="6" name="Rectangle 5">
              <a:extLst>
                <a:ext uri="{FF2B5EF4-FFF2-40B4-BE49-F238E27FC236}">
                  <a16:creationId xmlns:a16="http://schemas.microsoft.com/office/drawing/2014/main" id="{F81EF81E-AD28-1633-C09F-FFFE3BBD82B6}"/>
                </a:ext>
              </a:extLst>
            </p:cNvPr>
            <p:cNvSpPr/>
            <p:nvPr/>
          </p:nvSpPr>
          <p:spPr>
            <a:xfrm>
              <a:off x="6777098" y="4657858"/>
              <a:ext cx="2709522" cy="2200142"/>
            </a:xfrm>
            <a:prstGeom prst="rect">
              <a:avLst/>
            </a:prstGeom>
            <a:solidFill>
              <a:srgbClr val="D4D5E8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7" name="Rectangle 6">
              <a:extLst>
                <a:ext uri="{FF2B5EF4-FFF2-40B4-BE49-F238E27FC236}">
                  <a16:creationId xmlns:a16="http://schemas.microsoft.com/office/drawing/2014/main" id="{6A9E5B5A-A438-8597-3BD7-0C89EEE9894C}"/>
                </a:ext>
              </a:extLst>
            </p:cNvPr>
            <p:cNvSpPr/>
            <p:nvPr/>
          </p:nvSpPr>
          <p:spPr>
            <a:xfrm>
              <a:off x="4071684" y="4657858"/>
              <a:ext cx="2709522" cy="2200142"/>
            </a:xfrm>
            <a:prstGeom prst="rect">
              <a:avLst/>
            </a:prstGeom>
            <a:solidFill>
              <a:srgbClr val="CD92BB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8" name="Picture 7">
              <a:extLst>
                <a:ext uri="{FF2B5EF4-FFF2-40B4-BE49-F238E27FC236}">
                  <a16:creationId xmlns:a16="http://schemas.microsoft.com/office/drawing/2014/main" id="{D3C8B9C5-E391-CC8D-3FDC-05245921BE58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6777131" y="-7518"/>
              <a:ext cx="2709522" cy="4670425"/>
            </a:xfrm>
            <a:prstGeom prst="rect">
              <a:avLst/>
            </a:prstGeom>
            <a:ln>
              <a:noFill/>
            </a:ln>
          </p:spPr>
        </p:pic>
        <p:sp>
          <p:nvSpPr>
            <p:cNvPr id="11" name="TextBox 10">
              <a:extLst>
                <a:ext uri="{FF2B5EF4-FFF2-40B4-BE49-F238E27FC236}">
                  <a16:creationId xmlns:a16="http://schemas.microsoft.com/office/drawing/2014/main" id="{E59AE422-76A0-5145-BD50-8A350488962C}"/>
                </a:ext>
              </a:extLst>
            </p:cNvPr>
            <p:cNvSpPr txBox="1"/>
            <p:nvPr/>
          </p:nvSpPr>
          <p:spPr>
            <a:xfrm>
              <a:off x="4295438" y="5024916"/>
              <a:ext cx="2262014" cy="121879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2400" b="1" dirty="0">
                  <a:latin typeface="Arial" panose="020B0604020202020204" pitchFamily="34" charset="0"/>
                  <a:cs typeface="Arial" panose="020B0604020202020204" pitchFamily="34" charset="0"/>
                </a:rPr>
                <a:t>ISAs: </a:t>
              </a:r>
              <a:br>
                <a:rPr lang="en-US" sz="2400" b="1" dirty="0">
                  <a:latin typeface="Arial" panose="020B0604020202020204" pitchFamily="34" charset="0"/>
                  <a:cs typeface="Arial" panose="020B0604020202020204" pitchFamily="34" charset="0"/>
                </a:rPr>
              </a:br>
              <a:r>
                <a:rPr lang="en-US" sz="2400" dirty="0">
                  <a:latin typeface="Arial" panose="020B0604020202020204" pitchFamily="34" charset="0"/>
                  <a:cs typeface="Arial" panose="020B0604020202020204" pitchFamily="34" charset="0"/>
                </a:rPr>
                <a:t>Tax-efficient savings.</a:t>
              </a:r>
            </a:p>
          </p:txBody>
        </p:sp>
        <p:sp>
          <p:nvSpPr>
            <p:cNvPr id="12" name="TextBox 11">
              <a:extLst>
                <a:ext uri="{FF2B5EF4-FFF2-40B4-BE49-F238E27FC236}">
                  <a16:creationId xmlns:a16="http://schemas.microsoft.com/office/drawing/2014/main" id="{A85A376B-FCE8-2597-B480-9B9A9D8C8516}"/>
                </a:ext>
              </a:extLst>
            </p:cNvPr>
            <p:cNvSpPr txBox="1"/>
            <p:nvPr/>
          </p:nvSpPr>
          <p:spPr>
            <a:xfrm>
              <a:off x="7000852" y="5024916"/>
              <a:ext cx="2262014" cy="121879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2400" b="1" dirty="0">
                  <a:latin typeface="Arial" panose="020B0604020202020204" pitchFamily="34" charset="0"/>
                  <a:cs typeface="Arial" panose="020B0604020202020204" pitchFamily="34" charset="0"/>
                </a:rPr>
                <a:t>SIPPs: </a:t>
              </a:r>
              <a:r>
                <a:rPr lang="en-US" sz="2400" dirty="0">
                  <a:latin typeface="Arial" panose="020B0604020202020204" pitchFamily="34" charset="0"/>
                  <a:cs typeface="Arial" panose="020B0604020202020204" pitchFamily="34" charset="0"/>
                </a:rPr>
                <a:t>Retirement planning.</a:t>
              </a:r>
            </a:p>
          </p:txBody>
        </p:sp>
        <p:sp>
          <p:nvSpPr>
            <p:cNvPr id="4" name="Rectangle 3">
              <a:extLst>
                <a:ext uri="{FF2B5EF4-FFF2-40B4-BE49-F238E27FC236}">
                  <a16:creationId xmlns:a16="http://schemas.microsoft.com/office/drawing/2014/main" id="{9B25D3A1-5513-3D63-616F-C57B216E06C0}"/>
                </a:ext>
              </a:extLst>
            </p:cNvPr>
            <p:cNvSpPr/>
            <p:nvPr/>
          </p:nvSpPr>
          <p:spPr>
            <a:xfrm>
              <a:off x="9482445" y="4657858"/>
              <a:ext cx="2709522" cy="2200142"/>
            </a:xfrm>
            <a:prstGeom prst="rect">
              <a:avLst/>
            </a:prstGeom>
            <a:solidFill>
              <a:srgbClr val="A7AAD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ko-KR" alt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pic>
          <p:nvPicPr>
            <p:cNvPr id="10" name="Picture 9">
              <a:extLst>
                <a:ext uri="{FF2B5EF4-FFF2-40B4-BE49-F238E27FC236}">
                  <a16:creationId xmlns:a16="http://schemas.microsoft.com/office/drawing/2014/main" id="{066095E8-8FC5-F87E-3863-A193E6A375E6}"/>
                </a:ext>
              </a:extLst>
            </p:cNvPr>
            <p:cNvPicPr>
              <a:picLocks noChangeAspect="1"/>
            </p:cNvPicPr>
            <p:nvPr/>
          </p:nvPicPr>
          <p:blipFill rotWithShape="1"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>
            <a:xfrm>
              <a:off x="9482478" y="-7518"/>
              <a:ext cx="2709522" cy="4670425"/>
            </a:xfrm>
            <a:prstGeom prst="rect">
              <a:avLst/>
            </a:prstGeom>
            <a:ln>
              <a:noFill/>
            </a:ln>
          </p:spPr>
        </p:pic>
        <p:sp>
          <p:nvSpPr>
            <p:cNvPr id="15" name="TextBox 14">
              <a:extLst>
                <a:ext uri="{FF2B5EF4-FFF2-40B4-BE49-F238E27FC236}">
                  <a16:creationId xmlns:a16="http://schemas.microsoft.com/office/drawing/2014/main" id="{E4FF7317-0964-73D2-DFC9-D59A5F7FEF8D}"/>
                </a:ext>
              </a:extLst>
            </p:cNvPr>
            <p:cNvSpPr txBox="1"/>
            <p:nvPr/>
          </p:nvSpPr>
          <p:spPr>
            <a:xfrm>
              <a:off x="9706199" y="5024916"/>
              <a:ext cx="2262014" cy="1218796"/>
            </a:xfrm>
            <a:prstGeom prst="rect">
              <a:avLst/>
            </a:prstGeom>
            <a:noFill/>
          </p:spPr>
          <p:txBody>
            <a:bodyPr wrap="square" lIns="0" tIns="0" rIns="0" bIns="0">
              <a:spAutoFit/>
            </a:bodyPr>
            <a:lstStyle/>
            <a:p>
              <a:pPr algn="ctr"/>
              <a:r>
                <a:rPr lang="en-US" sz="2400" b="1" dirty="0">
                  <a:latin typeface="Arial" panose="020B0604020202020204" pitchFamily="34" charset="0"/>
                  <a:cs typeface="Arial" panose="020B0604020202020204" pitchFamily="34" charset="0"/>
                </a:rPr>
                <a:t>Mutual Funds: </a:t>
              </a:r>
              <a:r>
                <a:rPr lang="en-US" sz="2400" dirty="0">
                  <a:latin typeface="Arial" panose="020B0604020202020204" pitchFamily="34" charset="0"/>
                  <a:cs typeface="Arial" panose="020B0604020202020204" pitchFamily="34" charset="0"/>
                </a:rPr>
                <a:t>Diversified investments.</a:t>
              </a:r>
            </a:p>
          </p:txBody>
        </p:sp>
      </p:grpSp>
    </p:spTree>
    <p:extLst>
      <p:ext uri="{BB962C8B-B14F-4D97-AF65-F5344CB8AC3E}">
        <p14:creationId xmlns:p14="http://schemas.microsoft.com/office/powerpoint/2010/main" val="28159678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9D2DF8F-C722-0F1E-4DFA-4CD6680859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047322595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638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D2DF8F-C722-0F1E-4DFA-4CD668085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2">
            <a:extLst>
              <a:ext uri="{FF2B5EF4-FFF2-40B4-BE49-F238E27FC236}">
                <a16:creationId xmlns:a16="http://schemas.microsoft.com/office/drawing/2014/main" id="{26B62FF8-8BDA-4632-C20D-59440071FBB9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174"/>
            <a:ext cx="4571539" cy="6854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9" name="Group 18">
            <a:extLst>
              <a:ext uri="{FF2B5EF4-FFF2-40B4-BE49-F238E27FC236}">
                <a16:creationId xmlns:a16="http://schemas.microsoft.com/office/drawing/2014/main" id="{7CC5010D-45DC-B0DB-7893-BF1250B9B371}"/>
              </a:ext>
            </a:extLst>
          </p:cNvPr>
          <p:cNvGrpSpPr/>
          <p:nvPr/>
        </p:nvGrpSpPr>
        <p:grpSpPr>
          <a:xfrm>
            <a:off x="5270091" y="4211665"/>
            <a:ext cx="6102144" cy="2081171"/>
            <a:chOff x="5270091" y="3196077"/>
            <a:chExt cx="6102144" cy="2081171"/>
          </a:xfrm>
        </p:grpSpPr>
        <p:sp>
          <p:nvSpPr>
            <p:cNvPr id="10" name="Content Placeholder 2">
              <a:extLst>
                <a:ext uri="{FF2B5EF4-FFF2-40B4-BE49-F238E27FC236}">
                  <a16:creationId xmlns:a16="http://schemas.microsoft.com/office/drawing/2014/main" id="{5CFDEF24-0027-9413-E63D-4CF4586D67BE}"/>
                </a:ext>
              </a:extLst>
            </p:cNvPr>
            <p:cNvSpPr txBox="1">
              <a:spLocks/>
            </p:cNvSpPr>
            <p:nvPr/>
          </p:nvSpPr>
          <p:spPr>
            <a:xfrm>
              <a:off x="5270091" y="3196077"/>
              <a:ext cx="6102144" cy="492443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342900" indent="-3429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ts val="600"/>
                </a:spcBef>
                <a:spcAft>
                  <a:spcPts val="600"/>
                </a:spcAft>
                <a:buNone/>
              </a:pPr>
              <a:r>
                <a:rPr lang="en-US" b="1" dirty="0">
                  <a:latin typeface="Arial" panose="020B0604020202020204" pitchFamily="34" charset="0"/>
                  <a:cs typeface="Arial" panose="020B0604020202020204" pitchFamily="34" charset="0"/>
                </a:rPr>
                <a:t>Example:</a:t>
              </a:r>
              <a:endParaRPr lang="en-US" dirty="0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15" name="Content Placeholder 2">
              <a:extLst>
                <a:ext uri="{FF2B5EF4-FFF2-40B4-BE49-F238E27FC236}">
                  <a16:creationId xmlns:a16="http://schemas.microsoft.com/office/drawing/2014/main" id="{533F280F-715D-F8F0-DF7F-B497B0E32969}"/>
                </a:ext>
              </a:extLst>
            </p:cNvPr>
            <p:cNvSpPr txBox="1">
              <a:spLocks/>
            </p:cNvSpPr>
            <p:nvPr/>
          </p:nvSpPr>
          <p:spPr>
            <a:xfrm>
              <a:off x="5270091" y="3799920"/>
              <a:ext cx="6102144" cy="1477328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342900" indent="-3429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spcBef>
                  <a:spcPts val="600"/>
                </a:spcBef>
                <a:spcAft>
                  <a:spcPts val="600"/>
                </a:spcAft>
                <a:buNone/>
              </a:pPr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Two savers starting 10 years apart, showing significant differences in outcomes.</a:t>
              </a:r>
            </a:p>
          </p:txBody>
        </p:sp>
      </p:grpSp>
      <p:cxnSp>
        <p:nvCxnSpPr>
          <p:cNvPr id="13" name="Straight Connector 12">
            <a:extLst>
              <a:ext uri="{FF2B5EF4-FFF2-40B4-BE49-F238E27FC236}">
                <a16:creationId xmlns:a16="http://schemas.microsoft.com/office/drawing/2014/main" id="{8B58B45C-8A2D-6FC0-477F-1DD4065AAE0C}"/>
              </a:ext>
            </a:extLst>
          </p:cNvPr>
          <p:cNvCxnSpPr/>
          <p:nvPr/>
        </p:nvCxnSpPr>
        <p:spPr>
          <a:xfrm>
            <a:off x="5270092" y="2115942"/>
            <a:ext cx="6102143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4" name="Straight Connector 13">
            <a:extLst>
              <a:ext uri="{FF2B5EF4-FFF2-40B4-BE49-F238E27FC236}">
                <a16:creationId xmlns:a16="http://schemas.microsoft.com/office/drawing/2014/main" id="{E4D3DA50-AFA7-321F-F5CA-C0BFDD3EBBC3}"/>
              </a:ext>
            </a:extLst>
          </p:cNvPr>
          <p:cNvCxnSpPr/>
          <p:nvPr/>
        </p:nvCxnSpPr>
        <p:spPr>
          <a:xfrm>
            <a:off x="5270092" y="3841387"/>
            <a:ext cx="6102143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4" name="Rectangle 3">
            <a:extLst>
              <a:ext uri="{FF2B5EF4-FFF2-40B4-BE49-F238E27FC236}">
                <a16:creationId xmlns:a16="http://schemas.microsoft.com/office/drawing/2014/main" id="{02055E6F-A11D-0592-C7D8-F25D79BFEF1F}"/>
              </a:ext>
            </a:extLst>
          </p:cNvPr>
          <p:cNvSpPr/>
          <p:nvPr/>
        </p:nvSpPr>
        <p:spPr>
          <a:xfrm>
            <a:off x="0" y="3176"/>
            <a:ext cx="4571574" cy="6382250"/>
          </a:xfrm>
          <a:prstGeom prst="rect">
            <a:avLst/>
          </a:prstGeom>
          <a:gradFill>
            <a:gsLst>
              <a:gs pos="0">
                <a:srgbClr val="6366AB">
                  <a:alpha val="0"/>
                </a:srgbClr>
              </a:gs>
              <a:gs pos="100000">
                <a:srgbClr val="B5317D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6" name="Title 15">
            <a:extLst>
              <a:ext uri="{FF2B5EF4-FFF2-40B4-BE49-F238E27FC236}">
                <a16:creationId xmlns:a16="http://schemas.microsoft.com/office/drawing/2014/main" id="{32815B8E-E9E4-4F55-D141-128957F08F8F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511277" y="472573"/>
            <a:ext cx="3514623" cy="1661993"/>
          </a:xfrm>
        </p:spPr>
        <p:txBody>
          <a:bodyPr vert="horz">
            <a:noAutofit/>
          </a:bodyPr>
          <a:lstStyle/>
          <a:p>
            <a:r>
              <a:rPr lang="en-US" b="1" i="0" u="none" strike="noStrike" kern="1200" baseline="0" dirty="0">
                <a:solidFill>
                  <a:srgbClr val="FFFFFF"/>
                </a:solidFill>
              </a:rPr>
              <a:t>Compound Interest: </a:t>
            </a:r>
            <a:br>
              <a:rPr lang="en-US" b="1" i="0" u="none" strike="noStrike" kern="1200" baseline="0" dirty="0">
                <a:solidFill>
                  <a:srgbClr val="FFFFFF"/>
                </a:solidFill>
              </a:rPr>
            </a:br>
            <a:r>
              <a:rPr lang="en-US" b="1" i="0" u="none" strike="noStrike" kern="1200" baseline="0" dirty="0">
                <a:solidFill>
                  <a:srgbClr val="FFFFFF"/>
                </a:solidFill>
              </a:rPr>
              <a:t>A Powerful Ally</a:t>
            </a:r>
            <a:r>
              <a:rPr lang="en-US" b="1" dirty="0">
                <a:solidFill>
                  <a:schemeClr val="bg1"/>
                </a:solidFill>
              </a:rPr>
              <a:t/>
            </a:r>
            <a:br>
              <a:rPr lang="en-US" b="1" dirty="0">
                <a:solidFill>
                  <a:schemeClr val="bg1"/>
                </a:solidFill>
              </a:rPr>
            </a:br>
            <a:endParaRPr lang="en-US" dirty="0"/>
          </a:p>
        </p:txBody>
      </p:sp>
      <p:grpSp>
        <p:nvGrpSpPr>
          <p:cNvPr id="3" name="Group 2">
            <a:extLst>
              <a:ext uri="{FF2B5EF4-FFF2-40B4-BE49-F238E27FC236}">
                <a16:creationId xmlns:a16="http://schemas.microsoft.com/office/drawing/2014/main" id="{ED97CD1F-1B9E-3ED7-16E3-F19E4651EA7B}"/>
              </a:ext>
            </a:extLst>
          </p:cNvPr>
          <p:cNvGrpSpPr/>
          <p:nvPr/>
        </p:nvGrpSpPr>
        <p:grpSpPr>
          <a:xfrm>
            <a:off x="5270091" y="760777"/>
            <a:ext cx="6102143" cy="984885"/>
            <a:chOff x="5270091" y="760777"/>
            <a:chExt cx="6102143" cy="984885"/>
          </a:xfrm>
        </p:grpSpPr>
        <p:sp>
          <p:nvSpPr>
            <p:cNvPr id="6" name="Content Placeholder 2">
              <a:extLst>
                <a:ext uri="{FF2B5EF4-FFF2-40B4-BE49-F238E27FC236}">
                  <a16:creationId xmlns:a16="http://schemas.microsoft.com/office/drawing/2014/main" id="{304D5C7E-BAF9-4044-E9BE-6AF4AE2C08E4}"/>
                </a:ext>
              </a:extLst>
            </p:cNvPr>
            <p:cNvSpPr txBox="1">
              <a:spLocks/>
            </p:cNvSpPr>
            <p:nvPr/>
          </p:nvSpPr>
          <p:spPr>
            <a:xfrm>
              <a:off x="6553199" y="760777"/>
              <a:ext cx="4819035" cy="9848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342900" indent="-3429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None/>
              </a:pPr>
              <a:r>
                <a:rPr lang="en-US" dirty="0">
                  <a:latin typeface="Arial" panose="020B0604020202020204" pitchFamily="34" charset="0"/>
                  <a:cs typeface="Arial" panose="020B0604020202020204" pitchFamily="34" charset="0"/>
                </a:rPr>
                <a:t>Interest on interest boosts savings.</a:t>
              </a:r>
            </a:p>
          </p:txBody>
        </p:sp>
        <p:pic>
          <p:nvPicPr>
            <p:cNvPr id="23" name="Graphic 22">
              <a:extLst>
                <a:ext uri="{FF2B5EF4-FFF2-40B4-BE49-F238E27FC236}">
                  <a16:creationId xmlns:a16="http://schemas.microsoft.com/office/drawing/2014/main" id="{DBE4743F-69A0-5650-A3F1-B1490B84F17C}"/>
                </a:ext>
              </a:extLst>
            </p:cNvPr>
            <p:cNvPicPr>
              <a:picLocks noChangeAspect="1"/>
            </p:cNvPicPr>
            <p:nvPr/>
          </p:nvPicPr>
          <p:blipFill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8"/>
                </a:ext>
              </a:extLst>
            </a:blip>
            <a:stretch>
              <a:fillRect/>
            </a:stretch>
          </p:blipFill>
          <p:spPr>
            <a:xfrm>
              <a:off x="5270091" y="789465"/>
              <a:ext cx="927509" cy="927509"/>
            </a:xfrm>
            <a:prstGeom prst="rect">
              <a:avLst/>
            </a:prstGeom>
          </p:spPr>
        </p:pic>
      </p:grpSp>
      <p:grpSp>
        <p:nvGrpSpPr>
          <p:cNvPr id="2" name="Group 1">
            <a:extLst>
              <a:ext uri="{FF2B5EF4-FFF2-40B4-BE49-F238E27FC236}">
                <a16:creationId xmlns:a16="http://schemas.microsoft.com/office/drawing/2014/main" id="{8D4AAAB1-F078-DCDE-25F1-A5BBED22771E}"/>
              </a:ext>
            </a:extLst>
          </p:cNvPr>
          <p:cNvGrpSpPr/>
          <p:nvPr/>
        </p:nvGrpSpPr>
        <p:grpSpPr>
          <a:xfrm>
            <a:off x="5270091" y="2486222"/>
            <a:ext cx="6102143" cy="984885"/>
            <a:chOff x="5270091" y="2184300"/>
            <a:chExt cx="6102143" cy="984885"/>
          </a:xfrm>
        </p:grpSpPr>
        <p:sp>
          <p:nvSpPr>
            <p:cNvPr id="9" name="Content Placeholder 2">
              <a:extLst>
                <a:ext uri="{FF2B5EF4-FFF2-40B4-BE49-F238E27FC236}">
                  <a16:creationId xmlns:a16="http://schemas.microsoft.com/office/drawing/2014/main" id="{0B71ECAC-24D8-5FC8-3AB8-4F302255B8B5}"/>
                </a:ext>
              </a:extLst>
            </p:cNvPr>
            <p:cNvSpPr txBox="1">
              <a:spLocks/>
            </p:cNvSpPr>
            <p:nvPr/>
          </p:nvSpPr>
          <p:spPr>
            <a:xfrm>
              <a:off x="6553199" y="2184300"/>
              <a:ext cx="4819035" cy="984885"/>
            </a:xfrm>
            <a:prstGeom prst="rect">
              <a:avLst/>
            </a:prstGeom>
          </p:spPr>
          <p:txBody>
            <a:bodyPr wrap="square" lIns="0" tIns="0" rIns="0" bIns="0">
              <a:spAutoFit/>
            </a:bodyPr>
            <a:lstStyle>
              <a:lvl1pPr marL="342900" indent="-3429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32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1pPr>
              <a:lvl2pPr marL="742950" indent="-28575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8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2pPr>
              <a:lvl3pPr marL="1143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4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3pPr>
              <a:lvl4pPr marL="1600200" indent="-228600" algn="l" defTabSz="457200" rtl="0" eaLnBrk="1" latinLnBrk="0" hangingPunct="1">
                <a:spcBef>
                  <a:spcPct val="20000"/>
                </a:spcBef>
                <a:buFont typeface="Arial"/>
                <a:buChar char="–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4pPr>
              <a:lvl5pPr marL="2057400" indent="-228600" algn="l" defTabSz="457200" rtl="0" eaLnBrk="1" latinLnBrk="0" hangingPunct="1">
                <a:spcBef>
                  <a:spcPct val="20000"/>
                </a:spcBef>
                <a:buFont typeface="Arial"/>
                <a:buChar char="»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5pPr>
              <a:lvl6pPr marL="25146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6pPr>
              <a:lvl7pPr marL="29718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7pPr>
              <a:lvl8pPr marL="34290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8pPr>
              <a:lvl9pPr marL="3886200" indent="-228600" algn="l" defTabSz="457200" rtl="0" eaLnBrk="1" latinLnBrk="0" hangingPunct="1">
                <a:spcBef>
                  <a:spcPct val="20000"/>
                </a:spcBef>
                <a:buFont typeface="Arial"/>
                <a:buChar char="•"/>
                <a:defRPr sz="2000" kern="1200">
                  <a:solidFill>
                    <a:schemeClr val="tx1"/>
                  </a:solidFill>
                  <a:latin typeface="+mn-lt"/>
                  <a:ea typeface="+mn-ea"/>
                  <a:cs typeface="+mn-cs"/>
                </a:defRPr>
              </a:lvl9pPr>
            </a:lstStyle>
            <a:p>
              <a:pPr marL="0" indent="0">
                <a:buSzPts val="3200"/>
                <a:buNone/>
              </a:pPr>
              <a:r>
                <a:rPr lang="en-US" sz="3200" b="0" i="0" u="none" strike="noStrike" kern="1200" baseline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Start early to </a:t>
              </a:r>
              <a:r>
                <a:rPr lang="en-US" sz="3200" b="0" i="0" u="none" strike="noStrike" kern="1200" baseline="0" dirty="0" err="1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maximise</a:t>
              </a:r>
              <a:r>
                <a:rPr lang="en-US" sz="3200" b="0" i="0" u="none" strike="noStrike" kern="1200" baseline="0" dirty="0">
                  <a:solidFill>
                    <a:srgbClr val="000000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benefits.</a:t>
              </a:r>
            </a:p>
          </p:txBody>
        </p:sp>
        <p:pic>
          <p:nvPicPr>
            <p:cNvPr id="25" name="Graphic 24">
              <a:extLst>
                <a:ext uri="{FF2B5EF4-FFF2-40B4-BE49-F238E27FC236}">
                  <a16:creationId xmlns:a16="http://schemas.microsoft.com/office/drawing/2014/main" id="{E12EFC32-0E9F-4C43-9A2D-A643C3B7B42C}"/>
                </a:ext>
              </a:extLst>
            </p:cNvPr>
            <p:cNvPicPr>
              <a:picLocks noChangeAspect="1"/>
            </p:cNvPicPr>
            <p:nvPr/>
          </p:nvPicPr>
          <p:blipFill>
            <a:blip r:embed="rId9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0"/>
                </a:ext>
              </a:extLst>
            </a:blip>
            <a:stretch>
              <a:fillRect/>
            </a:stretch>
          </p:blipFill>
          <p:spPr>
            <a:xfrm>
              <a:off x="5270091" y="2212988"/>
              <a:ext cx="927509" cy="927509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193467884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9D2DF8F-C722-0F1E-4DFA-4CD6680859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689451188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48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D2DF8F-C722-0F1E-4DFA-4CD668085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8" name="Rectangle: Rounded Corners 17">
            <a:extLst>
              <a:ext uri="{FF2B5EF4-FFF2-40B4-BE49-F238E27FC236}">
                <a16:creationId xmlns:a16="http://schemas.microsoft.com/office/drawing/2014/main" id="{B3D5D82D-30AA-E073-A042-0EEF0B74447E}"/>
              </a:ext>
            </a:extLst>
          </p:cNvPr>
          <p:cNvSpPr/>
          <p:nvPr/>
        </p:nvSpPr>
        <p:spPr>
          <a:xfrm>
            <a:off x="552474" y="1642337"/>
            <a:ext cx="5277646" cy="614180"/>
          </a:xfrm>
          <a:prstGeom prst="roundRect">
            <a:avLst>
              <a:gd name="adj" fmla="val 50504"/>
            </a:avLst>
          </a:prstGeom>
          <a:solidFill>
            <a:srgbClr val="6366A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10 Years Saving - £87k</a:t>
            </a:r>
          </a:p>
        </p:txBody>
      </p:sp>
      <p:sp>
        <p:nvSpPr>
          <p:cNvPr id="20" name="Rectangle: Rounded Corners 19">
            <a:extLst>
              <a:ext uri="{FF2B5EF4-FFF2-40B4-BE49-F238E27FC236}">
                <a16:creationId xmlns:a16="http://schemas.microsoft.com/office/drawing/2014/main" id="{6F017C4B-E5B8-DD11-C99B-4DC5E824D64C}"/>
              </a:ext>
            </a:extLst>
          </p:cNvPr>
          <p:cNvSpPr/>
          <p:nvPr/>
        </p:nvSpPr>
        <p:spPr>
          <a:xfrm>
            <a:off x="6413500" y="1642337"/>
            <a:ext cx="5277646" cy="614180"/>
          </a:xfrm>
          <a:prstGeom prst="roundRect">
            <a:avLst>
              <a:gd name="adj" fmla="val 50078"/>
            </a:avLst>
          </a:prstGeom>
          <a:solidFill>
            <a:srgbClr val="6366AB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20 years saving £87k</a:t>
            </a:r>
          </a:p>
        </p:txBody>
      </p:sp>
      <p:sp>
        <p:nvSpPr>
          <p:cNvPr id="8" name="Rectangle 7">
            <a:extLst>
              <a:ext uri="{FF2B5EF4-FFF2-40B4-BE49-F238E27FC236}">
                <a16:creationId xmlns:a16="http://schemas.microsoft.com/office/drawing/2014/main" id="{5B5251DC-A223-39F8-9BC2-1BF6A4C8FB47}"/>
              </a:ext>
            </a:extLst>
          </p:cNvPr>
          <p:cNvSpPr/>
          <p:nvPr/>
        </p:nvSpPr>
        <p:spPr>
          <a:xfrm>
            <a:off x="3176" y="3176"/>
            <a:ext cx="12188824" cy="1414462"/>
          </a:xfrm>
          <a:prstGeom prst="rect">
            <a:avLst/>
          </a:prstGeom>
          <a:gradFill>
            <a:gsLst>
              <a:gs pos="19000">
                <a:srgbClr val="6366AB"/>
              </a:gs>
              <a:gs pos="100000">
                <a:srgbClr val="B5317D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/>
          <a:p>
            <a:r>
              <a:rPr lang="en-US" b="1" spc="-20" dirty="0">
                <a:solidFill>
                  <a:schemeClr val="bg1"/>
                </a:solidFill>
              </a:rPr>
              <a:t>Example: Comparison of Two Savers</a:t>
            </a: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FA7829E-5DF8-0027-058B-598181E4C12E}"/>
              </a:ext>
            </a:extLst>
          </p:cNvPr>
          <p:cNvCxnSpPr>
            <a:cxnSpLocks/>
          </p:cNvCxnSpPr>
          <p:nvPr/>
        </p:nvCxnSpPr>
        <p:spPr>
          <a:xfrm>
            <a:off x="6140248" y="1611628"/>
            <a:ext cx="0" cy="4235106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E57FB2CF-97AA-2340-73D4-148C966F51C6}"/>
              </a:ext>
            </a:extLst>
          </p:cNvPr>
          <p:cNvSpPr/>
          <p:nvPr/>
        </p:nvSpPr>
        <p:spPr>
          <a:xfrm>
            <a:off x="609600" y="1611628"/>
            <a:ext cx="5163394" cy="675598"/>
          </a:xfrm>
          <a:prstGeom prst="roundRect">
            <a:avLst>
              <a:gd name="adj" fmla="val 50504"/>
            </a:avLst>
          </a:prstGeom>
          <a:solidFill>
            <a:srgbClr val="B53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10 Years Saving - £120k</a:t>
            </a:r>
          </a:p>
        </p:txBody>
      </p:sp>
      <p:sp>
        <p:nvSpPr>
          <p:cNvPr id="4" name="Rectangle: Rounded Corners 3">
            <a:extLst>
              <a:ext uri="{FF2B5EF4-FFF2-40B4-BE49-F238E27FC236}">
                <a16:creationId xmlns:a16="http://schemas.microsoft.com/office/drawing/2014/main" id="{0E6EC77F-D52D-86A9-E01D-F811C75C83C8}"/>
              </a:ext>
            </a:extLst>
          </p:cNvPr>
          <p:cNvSpPr/>
          <p:nvPr/>
        </p:nvSpPr>
        <p:spPr>
          <a:xfrm>
            <a:off x="6470626" y="1611628"/>
            <a:ext cx="5163394" cy="675598"/>
          </a:xfrm>
          <a:prstGeom prst="roundRect">
            <a:avLst>
              <a:gd name="adj" fmla="val 50078"/>
            </a:avLst>
          </a:prstGeom>
          <a:solidFill>
            <a:srgbClr val="B53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b="1" dirty="0">
                <a:latin typeface="Arial" panose="020B0604020202020204" pitchFamily="34" charset="0"/>
                <a:cs typeface="Arial" panose="020B0604020202020204" pitchFamily="34" charset="0"/>
              </a:rPr>
              <a:t>20 years saving £120k</a:t>
            </a:r>
          </a:p>
        </p:txBody>
      </p:sp>
      <p:pic>
        <p:nvPicPr>
          <p:cNvPr id="7" name="Content Placeholder 7">
            <a:extLst>
              <a:ext uri="{FF2B5EF4-FFF2-40B4-BE49-F238E27FC236}">
                <a16:creationId xmlns:a16="http://schemas.microsoft.com/office/drawing/2014/main" id="{361ADF7D-A5EF-510D-E35C-8FF3CB6202BE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93174" y="2435550"/>
            <a:ext cx="5058615" cy="3407372"/>
          </a:xfrm>
          <a:prstGeom prst="rect">
            <a:avLst/>
          </a:prstGeom>
        </p:spPr>
      </p:pic>
      <p:pic>
        <p:nvPicPr>
          <p:cNvPr id="10" name="Content Placeholder 8">
            <a:extLst>
              <a:ext uri="{FF2B5EF4-FFF2-40B4-BE49-F238E27FC236}">
                <a16:creationId xmlns:a16="http://schemas.microsoft.com/office/drawing/2014/main" id="{9885DB8F-877C-3CA3-1460-240AB4D42E4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520187" y="2435550"/>
            <a:ext cx="5064274" cy="3411183"/>
          </a:xfrm>
          <a:prstGeom prst="rect">
            <a:avLst/>
          </a:prstGeom>
        </p:spPr>
      </p:pic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A59F270F-7C1E-A81F-38DC-8AD73CAE60C8}"/>
              </a:ext>
            </a:extLst>
          </p:cNvPr>
          <p:cNvSpPr txBox="1">
            <a:spLocks/>
          </p:cNvSpPr>
          <p:nvPr/>
        </p:nvSpPr>
        <p:spPr>
          <a:xfrm>
            <a:off x="3176" y="6081301"/>
            <a:ext cx="12188824" cy="461665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b="1" dirty="0">
                <a:solidFill>
                  <a:srgbClr val="B531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£111,564 more as a result of Compound Interest &amp; Time</a:t>
            </a:r>
          </a:p>
        </p:txBody>
      </p:sp>
    </p:spTree>
    <p:extLst>
      <p:ext uri="{BB962C8B-B14F-4D97-AF65-F5344CB8AC3E}">
        <p14:creationId xmlns:p14="http://schemas.microsoft.com/office/powerpoint/2010/main" val="2631134312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1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9D2DF8F-C722-0F1E-4DFA-4CD6680859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9030395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19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D2DF8F-C722-0F1E-4DFA-4CD668085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5B5251DC-A223-39F8-9BC2-1BF6A4C8FB47}"/>
              </a:ext>
            </a:extLst>
          </p:cNvPr>
          <p:cNvSpPr/>
          <p:nvPr/>
        </p:nvSpPr>
        <p:spPr>
          <a:xfrm>
            <a:off x="3176" y="3176"/>
            <a:ext cx="12188824" cy="1414462"/>
          </a:xfrm>
          <a:prstGeom prst="rect">
            <a:avLst/>
          </a:prstGeom>
          <a:gradFill>
            <a:gsLst>
              <a:gs pos="19000">
                <a:srgbClr val="6366AB"/>
              </a:gs>
              <a:gs pos="100000">
                <a:srgbClr val="B5317D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/>
          <a:p>
            <a:r>
              <a:rPr lang="en-US" b="1" spc="-20" dirty="0">
                <a:solidFill>
                  <a:schemeClr val="bg1"/>
                </a:solidFill>
              </a:rPr>
              <a:t>Key Takeaways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25ECD36-9DEB-412A-13CF-C6748D51F0F8}"/>
              </a:ext>
            </a:extLst>
          </p:cNvPr>
          <p:cNvSpPr txBox="1">
            <a:spLocks/>
          </p:cNvSpPr>
          <p:nvPr/>
        </p:nvSpPr>
        <p:spPr>
          <a:xfrm>
            <a:off x="557980" y="4475085"/>
            <a:ext cx="304800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Overpaying your mortgage 	.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7DA79AE-60A0-F6CE-A636-E9A42B459466}"/>
              </a:ext>
            </a:extLst>
          </p:cNvPr>
          <p:cNvSpPr txBox="1">
            <a:spLocks/>
          </p:cNvSpPr>
          <p:nvPr/>
        </p:nvSpPr>
        <p:spPr>
          <a:xfrm>
            <a:off x="4571999" y="4475086"/>
            <a:ext cx="3048000" cy="13430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 rtl="0">
              <a:buSzPts val="3200"/>
              <a:buNone/>
            </a:pPr>
            <a:r>
              <a:rPr lang="en-US" sz="2800" b="0" i="0" u="none" strike="noStrike" kern="1200" baseline="0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A family-focused budget ensures alignment.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D8881B4-5FD3-E30C-D6DC-A21F8B3FF37C}"/>
              </a:ext>
            </a:extLst>
          </p:cNvPr>
          <p:cNvSpPr txBox="1">
            <a:spLocks/>
          </p:cNvSpPr>
          <p:nvPr/>
        </p:nvSpPr>
        <p:spPr>
          <a:xfrm>
            <a:off x="8686800" y="4475085"/>
            <a:ext cx="3048000" cy="134302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Early saving </a:t>
            </a:r>
            <a:b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unlocks compound interest.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60F47FA-C91F-914F-82B3-E0114D5CFC2C}"/>
              </a:ext>
            </a:extLst>
          </p:cNvPr>
          <p:cNvSpPr/>
          <p:nvPr/>
        </p:nvSpPr>
        <p:spPr>
          <a:xfrm>
            <a:off x="1081802" y="2152407"/>
            <a:ext cx="1826088" cy="1826088"/>
          </a:xfrm>
          <a:prstGeom prst="ellipse">
            <a:avLst/>
          </a:prstGeom>
          <a:solidFill>
            <a:srgbClr val="B53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BDCA7F1-E6FF-D7E2-A205-C58EA44CB160}"/>
              </a:ext>
            </a:extLst>
          </p:cNvPr>
          <p:cNvSpPr/>
          <p:nvPr/>
        </p:nvSpPr>
        <p:spPr>
          <a:xfrm>
            <a:off x="9196977" y="2152407"/>
            <a:ext cx="1826088" cy="1826088"/>
          </a:xfrm>
          <a:prstGeom prst="ellipse">
            <a:avLst/>
          </a:prstGeom>
          <a:solidFill>
            <a:srgbClr val="B53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EA7113C-600D-5736-154F-355DFDEC3E8F}"/>
              </a:ext>
            </a:extLst>
          </p:cNvPr>
          <p:cNvSpPr/>
          <p:nvPr/>
        </p:nvSpPr>
        <p:spPr>
          <a:xfrm>
            <a:off x="5182955" y="2152407"/>
            <a:ext cx="1826088" cy="1826088"/>
          </a:xfrm>
          <a:prstGeom prst="ellipse">
            <a:avLst/>
          </a:prstGeom>
          <a:solidFill>
            <a:srgbClr val="B53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FA7829E-5DF8-0027-058B-598181E4C12E}"/>
              </a:ext>
            </a:extLst>
          </p:cNvPr>
          <p:cNvCxnSpPr>
            <a:cxnSpLocks/>
          </p:cNvCxnSpPr>
          <p:nvPr/>
        </p:nvCxnSpPr>
        <p:spPr>
          <a:xfrm rot="5400000">
            <a:off x="3417478" y="5146600"/>
            <a:ext cx="1343025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A4D15F6-D568-1D7F-F3DF-EC1274DAD61A}"/>
              </a:ext>
            </a:extLst>
          </p:cNvPr>
          <p:cNvCxnSpPr>
            <a:cxnSpLocks/>
          </p:cNvCxnSpPr>
          <p:nvPr/>
        </p:nvCxnSpPr>
        <p:spPr>
          <a:xfrm rot="5400000">
            <a:off x="7431497" y="5146601"/>
            <a:ext cx="1343025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D1E838F8-9470-D9B9-46F7-60958C0E61E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484566" y="2555171"/>
            <a:ext cx="1020561" cy="1020561"/>
          </a:xfrm>
          <a:prstGeom prst="rect">
            <a:avLst/>
          </a:prstGeom>
        </p:spPr>
      </p:pic>
      <p:pic>
        <p:nvPicPr>
          <p:cNvPr id="9" name="Graphic 8">
            <a:extLst>
              <a:ext uri="{FF2B5EF4-FFF2-40B4-BE49-F238E27FC236}">
                <a16:creationId xmlns:a16="http://schemas.microsoft.com/office/drawing/2014/main" id="{CB228C62-A5B5-A6F2-D66E-17B4B26BDB6E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542787" y="2512240"/>
            <a:ext cx="1106423" cy="1106423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D3C602CD-613A-5272-DB22-55C0848D8F28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510709" y="2466138"/>
            <a:ext cx="1198626" cy="119862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3776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9D2DF8F-C722-0F1E-4DFA-4CD6680859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39619711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560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cxnSp>
        <p:nvCxnSpPr>
          <p:cNvPr id="40" name="Straight Connector 39">
            <a:extLst>
              <a:ext uri="{FF2B5EF4-FFF2-40B4-BE49-F238E27FC236}">
                <a16:creationId xmlns:a16="http://schemas.microsoft.com/office/drawing/2014/main" id="{ED2A8562-61C9-BDDC-5DB2-5C4AC16E72DA}"/>
              </a:ext>
            </a:extLst>
          </p:cNvPr>
          <p:cNvCxnSpPr/>
          <p:nvPr/>
        </p:nvCxnSpPr>
        <p:spPr>
          <a:xfrm>
            <a:off x="609600" y="1956619"/>
            <a:ext cx="10972800" cy="0"/>
          </a:xfrm>
          <a:prstGeom prst="line">
            <a:avLst/>
          </a:prstGeom>
          <a:ln w="12700">
            <a:solidFill>
              <a:schemeClr val="bg1">
                <a:lumMod val="65000"/>
              </a:schemeClr>
            </a:solidFill>
            <a:headEnd type="oval"/>
            <a:tailEnd type="oval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8" name="Rectangle 7">
            <a:extLst>
              <a:ext uri="{FF2B5EF4-FFF2-40B4-BE49-F238E27FC236}">
                <a16:creationId xmlns:a16="http://schemas.microsoft.com/office/drawing/2014/main" id="{5B5251DC-A223-39F8-9BC2-1BF6A4C8FB47}"/>
              </a:ext>
            </a:extLst>
          </p:cNvPr>
          <p:cNvSpPr/>
          <p:nvPr/>
        </p:nvSpPr>
        <p:spPr>
          <a:xfrm>
            <a:off x="3176" y="3176"/>
            <a:ext cx="12188824" cy="1414462"/>
          </a:xfrm>
          <a:prstGeom prst="rect">
            <a:avLst/>
          </a:prstGeom>
          <a:gradFill>
            <a:gsLst>
              <a:gs pos="19000">
                <a:srgbClr val="6366AB"/>
              </a:gs>
              <a:gs pos="100000">
                <a:srgbClr val="B5317D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48547"/>
            <a:ext cx="10972800" cy="553998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Introduction and Plan for the evening</a:t>
            </a:r>
          </a:p>
        </p:txBody>
      </p:sp>
      <p:sp>
        <p:nvSpPr>
          <p:cNvPr id="13" name="Content Placeholder 2">
            <a:extLst>
              <a:ext uri="{FF2B5EF4-FFF2-40B4-BE49-F238E27FC236}">
                <a16:creationId xmlns:a16="http://schemas.microsoft.com/office/drawing/2014/main" id="{E5EF783B-0C1A-4D6B-B6F1-87386FB35344}"/>
              </a:ext>
            </a:extLst>
          </p:cNvPr>
          <p:cNvSpPr txBox="1">
            <a:spLocks/>
          </p:cNvSpPr>
          <p:nvPr/>
        </p:nvSpPr>
        <p:spPr>
          <a:xfrm>
            <a:off x="4180538" y="1696451"/>
            <a:ext cx="3830921" cy="461665"/>
          </a:xfrm>
          <a:prstGeom prst="rect">
            <a:avLst/>
          </a:prstGeom>
          <a:solidFill>
            <a:schemeClr val="bg1"/>
          </a:solidFill>
        </p:spPr>
        <p:txBody>
          <a:bodyPr wrap="square" lIns="45720" tIns="45720" rIns="45720" bIns="4572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dirty="0">
                <a:solidFill>
                  <a:srgbClr val="B531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ur focus for today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108D7A0D-E8D6-C1F0-5AC3-F59AE569FA4B}"/>
              </a:ext>
            </a:extLst>
          </p:cNvPr>
          <p:cNvSpPr txBox="1">
            <a:spLocks/>
          </p:cNvSpPr>
          <p:nvPr/>
        </p:nvSpPr>
        <p:spPr>
          <a:xfrm>
            <a:off x="511276" y="5902836"/>
            <a:ext cx="11169446" cy="461665"/>
          </a:xfrm>
          <a:prstGeom prst="rect">
            <a:avLst/>
          </a:prstGeom>
        </p:spPr>
        <p:txBody>
          <a:bodyPr wrap="square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  <a:sym typeface="Wingdings" panose="05000000000000000000" pitchFamily="2" charset="2"/>
              </a:rPr>
              <a:t> We may touch on other areas depending on time, but above is our focus!</a:t>
            </a:r>
            <a:endParaRPr lang="en-US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3" name="Oval 22">
            <a:extLst>
              <a:ext uri="{FF2B5EF4-FFF2-40B4-BE49-F238E27FC236}">
                <a16:creationId xmlns:a16="http://schemas.microsoft.com/office/drawing/2014/main" id="{70490D00-554B-E469-9B52-9475DC23F852}"/>
              </a:ext>
            </a:extLst>
          </p:cNvPr>
          <p:cNvSpPr/>
          <p:nvPr/>
        </p:nvSpPr>
        <p:spPr>
          <a:xfrm>
            <a:off x="558824" y="2528503"/>
            <a:ext cx="2975284" cy="2975284"/>
          </a:xfrm>
          <a:prstGeom prst="ellipse">
            <a:avLst/>
          </a:prstGeom>
          <a:solidFill>
            <a:srgbClr val="B53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3637A152-8FD0-61F2-55EC-8FCBC480B2DE}"/>
              </a:ext>
            </a:extLst>
          </p:cNvPr>
          <p:cNvSpPr txBox="1">
            <a:spLocks/>
          </p:cNvSpPr>
          <p:nvPr/>
        </p:nvSpPr>
        <p:spPr>
          <a:xfrm>
            <a:off x="1016312" y="4108616"/>
            <a:ext cx="2060306" cy="101566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How to pay </a:t>
            </a:r>
            <a:b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of mortgage early?</a:t>
            </a:r>
          </a:p>
        </p:txBody>
      </p:sp>
      <p:sp>
        <p:nvSpPr>
          <p:cNvPr id="26" name="Oval 25">
            <a:extLst>
              <a:ext uri="{FF2B5EF4-FFF2-40B4-BE49-F238E27FC236}">
                <a16:creationId xmlns:a16="http://schemas.microsoft.com/office/drawing/2014/main" id="{33AA761A-F568-8990-CDD5-00978512E315}"/>
              </a:ext>
            </a:extLst>
          </p:cNvPr>
          <p:cNvSpPr/>
          <p:nvPr/>
        </p:nvSpPr>
        <p:spPr>
          <a:xfrm>
            <a:off x="1827069" y="2313763"/>
            <a:ext cx="438795" cy="438795"/>
          </a:xfrm>
          <a:prstGeom prst="ellipse">
            <a:avLst/>
          </a:prstGeom>
          <a:solidFill>
            <a:srgbClr val="6366AB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24" name="Oval 23">
            <a:extLst>
              <a:ext uri="{FF2B5EF4-FFF2-40B4-BE49-F238E27FC236}">
                <a16:creationId xmlns:a16="http://schemas.microsoft.com/office/drawing/2014/main" id="{95AA7CE8-124B-41D8-52FD-22BE84BC5F06}"/>
              </a:ext>
            </a:extLst>
          </p:cNvPr>
          <p:cNvSpPr/>
          <p:nvPr/>
        </p:nvSpPr>
        <p:spPr>
          <a:xfrm>
            <a:off x="4608356" y="2528503"/>
            <a:ext cx="2975284" cy="2975284"/>
          </a:xfrm>
          <a:prstGeom prst="ellipse">
            <a:avLst/>
          </a:prstGeom>
          <a:solidFill>
            <a:srgbClr val="B53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F6187FA8-289D-20C4-2F51-8CFEF77A99F7}"/>
              </a:ext>
            </a:extLst>
          </p:cNvPr>
          <p:cNvSpPr txBox="1">
            <a:spLocks/>
          </p:cNvSpPr>
          <p:nvPr/>
        </p:nvSpPr>
        <p:spPr>
          <a:xfrm>
            <a:off x="5065845" y="4108616"/>
            <a:ext cx="2060306" cy="707886"/>
          </a:xfrm>
          <a:prstGeom prst="rect">
            <a:avLst/>
          </a:prstGeom>
        </p:spPr>
        <p:txBody>
          <a:bodyPr wrap="square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ing a budget that actual works</a:t>
            </a:r>
          </a:p>
        </p:txBody>
      </p:sp>
      <p:sp>
        <p:nvSpPr>
          <p:cNvPr id="27" name="Oval 26">
            <a:extLst>
              <a:ext uri="{FF2B5EF4-FFF2-40B4-BE49-F238E27FC236}">
                <a16:creationId xmlns:a16="http://schemas.microsoft.com/office/drawing/2014/main" id="{10AC4A62-AC13-C94E-F236-83FE4D186300}"/>
              </a:ext>
            </a:extLst>
          </p:cNvPr>
          <p:cNvSpPr/>
          <p:nvPr/>
        </p:nvSpPr>
        <p:spPr>
          <a:xfrm>
            <a:off x="5876601" y="2313763"/>
            <a:ext cx="438795" cy="438795"/>
          </a:xfrm>
          <a:prstGeom prst="ellipse">
            <a:avLst/>
          </a:prstGeom>
          <a:solidFill>
            <a:srgbClr val="6366AB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25" name="Oval 24">
            <a:extLst>
              <a:ext uri="{FF2B5EF4-FFF2-40B4-BE49-F238E27FC236}">
                <a16:creationId xmlns:a16="http://schemas.microsoft.com/office/drawing/2014/main" id="{16D7E6D0-2BF9-F34B-7063-37A20187388A}"/>
              </a:ext>
            </a:extLst>
          </p:cNvPr>
          <p:cNvSpPr/>
          <p:nvPr/>
        </p:nvSpPr>
        <p:spPr>
          <a:xfrm>
            <a:off x="8657889" y="2495630"/>
            <a:ext cx="2975284" cy="2975284"/>
          </a:xfrm>
          <a:prstGeom prst="ellipse">
            <a:avLst/>
          </a:prstGeom>
          <a:solidFill>
            <a:srgbClr val="B53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Content Placeholder 2">
            <a:extLst>
              <a:ext uri="{FF2B5EF4-FFF2-40B4-BE49-F238E27FC236}">
                <a16:creationId xmlns:a16="http://schemas.microsoft.com/office/drawing/2014/main" id="{97F47659-3C04-ED36-3C18-7949CF58F45C}"/>
              </a:ext>
            </a:extLst>
          </p:cNvPr>
          <p:cNvSpPr txBox="1">
            <a:spLocks/>
          </p:cNvSpPr>
          <p:nvPr/>
        </p:nvSpPr>
        <p:spPr>
          <a:xfrm>
            <a:off x="9115377" y="4108616"/>
            <a:ext cx="2060306" cy="1015663"/>
          </a:xfrm>
          <a:prstGeom prst="rect">
            <a:avLst/>
          </a:prstGeom>
        </p:spPr>
        <p:txBody>
          <a:bodyPr wrap="square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op tips for savings and investment</a:t>
            </a:r>
          </a:p>
        </p:txBody>
      </p:sp>
      <p:sp>
        <p:nvSpPr>
          <p:cNvPr id="28" name="Oval 27">
            <a:extLst>
              <a:ext uri="{FF2B5EF4-FFF2-40B4-BE49-F238E27FC236}">
                <a16:creationId xmlns:a16="http://schemas.microsoft.com/office/drawing/2014/main" id="{60BF7A1E-0066-1397-618D-F14D8144B360}"/>
              </a:ext>
            </a:extLst>
          </p:cNvPr>
          <p:cNvSpPr/>
          <p:nvPr/>
        </p:nvSpPr>
        <p:spPr>
          <a:xfrm>
            <a:off x="9926134" y="2267691"/>
            <a:ext cx="438795" cy="438795"/>
          </a:xfrm>
          <a:prstGeom prst="ellipse">
            <a:avLst/>
          </a:prstGeom>
          <a:solidFill>
            <a:srgbClr val="6366AB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3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312089C7-936A-4CC1-C001-45D3B17FAB69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693179" y="3087312"/>
            <a:ext cx="706575" cy="706575"/>
          </a:xfrm>
          <a:prstGeom prst="rect">
            <a:avLst/>
          </a:prstGeom>
        </p:spPr>
      </p:pic>
      <p:pic>
        <p:nvPicPr>
          <p:cNvPr id="19" name="Graphic 18">
            <a:extLst>
              <a:ext uri="{FF2B5EF4-FFF2-40B4-BE49-F238E27FC236}">
                <a16:creationId xmlns:a16="http://schemas.microsoft.com/office/drawing/2014/main" id="{1F289320-71EC-0D4D-A8CE-CF48C73ADB0A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754701" y="3099302"/>
            <a:ext cx="682594" cy="682594"/>
          </a:xfrm>
          <a:prstGeom prst="rect">
            <a:avLst/>
          </a:prstGeom>
        </p:spPr>
      </p:pic>
      <p:pic>
        <p:nvPicPr>
          <p:cNvPr id="21" name="Graphic 20">
            <a:extLst>
              <a:ext uri="{FF2B5EF4-FFF2-40B4-BE49-F238E27FC236}">
                <a16:creationId xmlns:a16="http://schemas.microsoft.com/office/drawing/2014/main" id="{2F397C29-3AD5-C900-BFE7-39138CD6142C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718052" y="3013121"/>
            <a:ext cx="854956" cy="85495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27853811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2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9D2DF8F-C722-0F1E-4DFA-4CD6680859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64459608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6629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D2DF8F-C722-0F1E-4DFA-4CD668085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5B5251DC-A223-39F8-9BC2-1BF6A4C8FB47}"/>
              </a:ext>
            </a:extLst>
          </p:cNvPr>
          <p:cNvSpPr/>
          <p:nvPr/>
        </p:nvSpPr>
        <p:spPr>
          <a:xfrm>
            <a:off x="3176" y="3176"/>
            <a:ext cx="12188824" cy="1414462"/>
          </a:xfrm>
          <a:prstGeom prst="rect">
            <a:avLst/>
          </a:prstGeom>
          <a:gradFill>
            <a:gsLst>
              <a:gs pos="19000">
                <a:srgbClr val="6366AB"/>
              </a:gs>
              <a:gs pos="100000">
                <a:srgbClr val="B5317D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none" lIns="0" tIns="0" rIns="0" bIns="0" rtlCol="0" anchor="t">
            <a:noAutofit/>
          </a:bodyPr>
          <a:lstStyle/>
          <a:p>
            <a:r>
              <a:rPr lang="en-US" b="1" spc="-20" dirty="0">
                <a:solidFill>
                  <a:schemeClr val="bg1"/>
                </a:solidFill>
              </a:rPr>
              <a:t>Next Steps</a:t>
            </a:r>
          </a:p>
        </p:txBody>
      </p:sp>
      <p:grpSp>
        <p:nvGrpSpPr>
          <p:cNvPr id="42" name="Group 41">
            <a:extLst>
              <a:ext uri="{FF2B5EF4-FFF2-40B4-BE49-F238E27FC236}">
                <a16:creationId xmlns:a16="http://schemas.microsoft.com/office/drawing/2014/main" id="{BED3CBF9-8360-48EC-D6D7-D19763BD814E}"/>
              </a:ext>
            </a:extLst>
          </p:cNvPr>
          <p:cNvGrpSpPr/>
          <p:nvPr/>
        </p:nvGrpSpPr>
        <p:grpSpPr>
          <a:xfrm>
            <a:off x="609599" y="1929833"/>
            <a:ext cx="11024420" cy="4392999"/>
            <a:chOff x="609599" y="2028155"/>
            <a:chExt cx="11024420" cy="4392999"/>
          </a:xfrm>
        </p:grpSpPr>
        <p:sp>
          <p:nvSpPr>
            <p:cNvPr id="23" name="L-Shape 22">
              <a:extLst>
                <a:ext uri="{FF2B5EF4-FFF2-40B4-BE49-F238E27FC236}">
                  <a16:creationId xmlns:a16="http://schemas.microsoft.com/office/drawing/2014/main" id="{12F2A1CB-FD82-1FEE-8147-E0857FC2CF28}"/>
                </a:ext>
              </a:extLst>
            </p:cNvPr>
            <p:cNvSpPr/>
            <p:nvPr/>
          </p:nvSpPr>
          <p:spPr>
            <a:xfrm rot="5400000">
              <a:off x="5286905" y="3117025"/>
              <a:ext cx="1662934" cy="3431807"/>
            </a:xfrm>
            <a:prstGeom prst="corner">
              <a:avLst>
                <a:gd name="adj1" fmla="val 16120"/>
                <a:gd name="adj2" fmla="val 16110"/>
              </a:avLst>
            </a:prstGeom>
            <a:solidFill>
              <a:srgbClr val="B5317D"/>
            </a:solidFill>
            <a:ln>
              <a:noFill/>
            </a:ln>
          </p:spPr>
          <p:style>
            <a:lnRef idx="1">
              <a:scrgbClr r="0" g="0" b="0"/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5" name="L-Shape 24">
              <a:extLst>
                <a:ext uri="{FF2B5EF4-FFF2-40B4-BE49-F238E27FC236}">
                  <a16:creationId xmlns:a16="http://schemas.microsoft.com/office/drawing/2014/main" id="{A481887C-6992-46BD-8629-9235015C6DF1}"/>
                </a:ext>
              </a:extLst>
            </p:cNvPr>
            <p:cNvSpPr/>
            <p:nvPr/>
          </p:nvSpPr>
          <p:spPr>
            <a:xfrm rot="5400000">
              <a:off x="1494036" y="3873783"/>
              <a:ext cx="1662934" cy="3431807"/>
            </a:xfrm>
            <a:prstGeom prst="corner">
              <a:avLst>
                <a:gd name="adj1" fmla="val 16120"/>
                <a:gd name="adj2" fmla="val 16110"/>
              </a:avLst>
            </a:prstGeom>
            <a:solidFill>
              <a:srgbClr val="B5317D"/>
            </a:solidFill>
            <a:ln>
              <a:noFill/>
            </a:ln>
          </p:spPr>
          <p:style>
            <a:lnRef idx="1">
              <a:scrgbClr r="0" g="0" b="0"/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6" name="Isosceles Triangle 25">
              <a:extLst>
                <a:ext uri="{FF2B5EF4-FFF2-40B4-BE49-F238E27FC236}">
                  <a16:creationId xmlns:a16="http://schemas.microsoft.com/office/drawing/2014/main" id="{882FEC27-E8A5-0530-88C5-49EF53E5211E}"/>
                </a:ext>
              </a:extLst>
            </p:cNvPr>
            <p:cNvSpPr/>
            <p:nvPr/>
          </p:nvSpPr>
          <p:spPr>
            <a:xfrm>
              <a:off x="3463709" y="4002426"/>
              <a:ext cx="584574" cy="471345"/>
            </a:xfrm>
            <a:prstGeom prst="triangle">
              <a:avLst>
                <a:gd name="adj" fmla="val 100000"/>
              </a:avLst>
            </a:prstGeom>
            <a:solidFill>
              <a:srgbClr val="6366AB"/>
            </a:solidFill>
            <a:ln>
              <a:noFill/>
            </a:ln>
          </p:spPr>
          <p:style>
            <a:lnRef idx="1">
              <a:scrgbClr r="0" g="0" b="0"/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7" name="Isosceles Triangle 26">
              <a:extLst>
                <a:ext uri="{FF2B5EF4-FFF2-40B4-BE49-F238E27FC236}">
                  <a16:creationId xmlns:a16="http://schemas.microsoft.com/office/drawing/2014/main" id="{76C789C8-EFC1-8650-AB6A-EEFCFAD9D990}"/>
                </a:ext>
              </a:extLst>
            </p:cNvPr>
            <p:cNvSpPr/>
            <p:nvPr/>
          </p:nvSpPr>
          <p:spPr>
            <a:xfrm>
              <a:off x="7256576" y="3245668"/>
              <a:ext cx="584574" cy="471345"/>
            </a:xfrm>
            <a:prstGeom prst="triangle">
              <a:avLst>
                <a:gd name="adj" fmla="val 100000"/>
              </a:avLst>
            </a:prstGeom>
            <a:solidFill>
              <a:srgbClr val="6366AB"/>
            </a:solidFill>
            <a:ln>
              <a:noFill/>
            </a:ln>
          </p:spPr>
          <p:style>
            <a:lnRef idx="1">
              <a:scrgbClr r="0" g="0" b="0"/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8" name="L-Shape 27">
              <a:extLst>
                <a:ext uri="{FF2B5EF4-FFF2-40B4-BE49-F238E27FC236}">
                  <a16:creationId xmlns:a16="http://schemas.microsoft.com/office/drawing/2014/main" id="{EF8F3857-020B-4ED7-FEDE-77935EE9FA97}"/>
                </a:ext>
              </a:extLst>
            </p:cNvPr>
            <p:cNvSpPr/>
            <p:nvPr/>
          </p:nvSpPr>
          <p:spPr>
            <a:xfrm rot="5400000">
              <a:off x="9079774" y="2360267"/>
              <a:ext cx="1662934" cy="3431807"/>
            </a:xfrm>
            <a:prstGeom prst="corner">
              <a:avLst>
                <a:gd name="adj1" fmla="val 16120"/>
                <a:gd name="adj2" fmla="val 16110"/>
              </a:avLst>
            </a:prstGeom>
            <a:solidFill>
              <a:srgbClr val="B5317D"/>
            </a:solidFill>
            <a:ln>
              <a:noFill/>
            </a:ln>
          </p:spPr>
          <p:style>
            <a:lnRef idx="1">
              <a:scrgbClr r="0" g="0" b="0"/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29" name="Isosceles Triangle 28">
              <a:extLst>
                <a:ext uri="{FF2B5EF4-FFF2-40B4-BE49-F238E27FC236}">
                  <a16:creationId xmlns:a16="http://schemas.microsoft.com/office/drawing/2014/main" id="{03AEA702-A74A-0980-DE41-C0DAD4B2E6AD}"/>
                </a:ext>
              </a:extLst>
            </p:cNvPr>
            <p:cNvSpPr/>
            <p:nvPr/>
          </p:nvSpPr>
          <p:spPr>
            <a:xfrm>
              <a:off x="11049445" y="2488912"/>
              <a:ext cx="584574" cy="471345"/>
            </a:xfrm>
            <a:prstGeom prst="triangle">
              <a:avLst>
                <a:gd name="adj" fmla="val 100000"/>
              </a:avLst>
            </a:prstGeom>
            <a:solidFill>
              <a:srgbClr val="6366AB"/>
            </a:solidFill>
            <a:ln>
              <a:noFill/>
            </a:ln>
          </p:spPr>
          <p:style>
            <a:lnRef idx="1">
              <a:scrgbClr r="0" g="0" b="0"/>
            </a:lnRef>
            <a:fillRef idx="3">
              <a:scrgbClr r="0" g="0" b="0"/>
            </a:fillRef>
            <a:effectRef idx="2">
              <a:schemeClr val="accent1">
                <a:hueOff val="0"/>
                <a:satOff val="0"/>
                <a:lumOff val="0"/>
                <a:alphaOff val="0"/>
              </a:schemeClr>
            </a:effectRef>
            <a:fontRef idx="minor">
              <a:schemeClr val="lt1"/>
            </a:fontRef>
          </p:style>
          <p:txBody>
            <a:bodyPr/>
            <a:lstStyle/>
            <a:p>
              <a:endParaRPr lang="en-US"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sp>
          <p:nvSpPr>
            <p:cNvPr id="31" name="TextBox 30">
              <a:extLst>
                <a:ext uri="{FF2B5EF4-FFF2-40B4-BE49-F238E27FC236}">
                  <a16:creationId xmlns:a16="http://schemas.microsoft.com/office/drawing/2014/main" id="{25A37673-16F6-C2EB-3B6E-AC4ABF82F1FF}"/>
                </a:ext>
              </a:extLst>
            </p:cNvPr>
            <p:cNvSpPr txBox="1"/>
            <p:nvPr/>
          </p:nvSpPr>
          <p:spPr>
            <a:xfrm>
              <a:off x="1000283" y="5151631"/>
              <a:ext cx="3041124" cy="1200329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400" dirty="0">
                  <a:latin typeface="Arial" panose="020B0604020202020204" pitchFamily="34" charset="0"/>
                  <a:cs typeface="Arial" panose="020B0604020202020204" pitchFamily="34" charset="0"/>
                </a:rPr>
                <a:t>Review finances and identify areas for improvement.</a:t>
              </a:r>
            </a:p>
          </p:txBody>
        </p:sp>
        <p:sp>
          <p:nvSpPr>
            <p:cNvPr id="32" name="TextBox 31">
              <a:extLst>
                <a:ext uri="{FF2B5EF4-FFF2-40B4-BE49-F238E27FC236}">
                  <a16:creationId xmlns:a16="http://schemas.microsoft.com/office/drawing/2014/main" id="{0D513093-D403-0AFE-7281-9CC7BA2D76A6}"/>
                </a:ext>
              </a:extLst>
            </p:cNvPr>
            <p:cNvSpPr txBox="1"/>
            <p:nvPr/>
          </p:nvSpPr>
          <p:spPr>
            <a:xfrm>
              <a:off x="4793152" y="4451306"/>
              <a:ext cx="3041124" cy="461665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400" dirty="0">
                  <a:latin typeface="Arial" panose="020B0604020202020204" pitchFamily="34" charset="0"/>
                  <a:cs typeface="Arial" panose="020B0604020202020204" pitchFamily="34" charset="0"/>
                </a:rPr>
                <a:t>Set actionable goals.</a:t>
              </a:r>
            </a:p>
          </p:txBody>
        </p:sp>
        <p:sp>
          <p:nvSpPr>
            <p:cNvPr id="33" name="TextBox 32">
              <a:extLst>
                <a:ext uri="{FF2B5EF4-FFF2-40B4-BE49-F238E27FC236}">
                  <a16:creationId xmlns:a16="http://schemas.microsoft.com/office/drawing/2014/main" id="{CB61EA21-6FDC-6856-136F-A5502ED82CF7}"/>
                </a:ext>
              </a:extLst>
            </p:cNvPr>
            <p:cNvSpPr txBox="1"/>
            <p:nvPr/>
          </p:nvSpPr>
          <p:spPr>
            <a:xfrm>
              <a:off x="8586021" y="3717013"/>
              <a:ext cx="3041124" cy="830997"/>
            </a:xfrm>
            <a:prstGeom prst="rect">
              <a:avLst/>
            </a:prstGeom>
            <a:noFill/>
          </p:spPr>
          <p:txBody>
            <a:bodyPr wrap="square">
              <a:spAutoFit/>
            </a:bodyPr>
            <a:lstStyle/>
            <a:p>
              <a:r>
                <a:rPr lang="en-US" sz="2400" dirty="0">
                  <a:latin typeface="Arial" panose="020B0604020202020204" pitchFamily="34" charset="0"/>
                  <a:cs typeface="Arial" panose="020B0604020202020204" pitchFamily="34" charset="0"/>
                </a:rPr>
                <a:t>Stay consistent and 	 progress.</a:t>
              </a:r>
            </a:p>
          </p:txBody>
        </p:sp>
        <p:pic>
          <p:nvPicPr>
            <p:cNvPr id="35" name="Graphic 34">
              <a:extLst>
                <a:ext uri="{FF2B5EF4-FFF2-40B4-BE49-F238E27FC236}">
                  <a16:creationId xmlns:a16="http://schemas.microsoft.com/office/drawing/2014/main" id="{4B0789A6-D4A9-A74C-890A-76A2F195FFB6}"/>
                </a:ext>
              </a:extLst>
            </p:cNvPr>
            <p:cNvPicPr>
              <a:picLocks noChangeAspect="1"/>
            </p:cNvPicPr>
            <p:nvPr/>
          </p:nvPicPr>
          <p:blipFill>
            <a:blip r:embed="rId6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7"/>
                </a:ext>
              </a:extLst>
            </a:blip>
            <a:stretch>
              <a:fillRect/>
            </a:stretch>
          </p:blipFill>
          <p:spPr>
            <a:xfrm>
              <a:off x="784884" y="3606801"/>
              <a:ext cx="1059128" cy="1059128"/>
            </a:xfrm>
            <a:prstGeom prst="rect">
              <a:avLst/>
            </a:prstGeom>
          </p:spPr>
        </p:pic>
        <p:pic>
          <p:nvPicPr>
            <p:cNvPr id="39" name="Graphic 38">
              <a:extLst>
                <a:ext uri="{FF2B5EF4-FFF2-40B4-BE49-F238E27FC236}">
                  <a16:creationId xmlns:a16="http://schemas.microsoft.com/office/drawing/2014/main" id="{1F6975C5-78FE-AE5A-369D-6FE4B64FE9C3}"/>
                </a:ext>
              </a:extLst>
            </p:cNvPr>
            <p:cNvPicPr>
              <a:picLocks noChangeAspect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9"/>
                </a:ext>
              </a:extLst>
            </a:blip>
            <a:stretch>
              <a:fillRect/>
            </a:stretch>
          </p:blipFill>
          <p:spPr>
            <a:xfrm>
              <a:off x="4625896" y="2918202"/>
              <a:ext cx="962844" cy="962844"/>
            </a:xfrm>
            <a:prstGeom prst="rect">
              <a:avLst/>
            </a:prstGeom>
          </p:spPr>
        </p:pic>
        <p:pic>
          <p:nvPicPr>
            <p:cNvPr id="41" name="Graphic 40">
              <a:extLst>
                <a:ext uri="{FF2B5EF4-FFF2-40B4-BE49-F238E27FC236}">
                  <a16:creationId xmlns:a16="http://schemas.microsoft.com/office/drawing/2014/main" id="{049EEDFC-1D06-7FDD-A1A4-D564BF3B4A48}"/>
                </a:ext>
              </a:extLst>
            </p:cNvPr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/>
                </a:ext>
                <a:ext uri="{96DAC541-7B7A-43D3-8B79-37D633B846F1}">
                  <asvg:svgBlip xmlns="" xmlns:asvg="http://schemas.microsoft.com/office/drawing/2016/SVG/main" r:embed="rId11"/>
                </a:ext>
              </a:extLst>
            </a:blip>
            <a:stretch>
              <a:fillRect/>
            </a:stretch>
          </p:blipFill>
          <p:spPr>
            <a:xfrm>
              <a:off x="8444904" y="2028155"/>
              <a:ext cx="1059128" cy="1059128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3214105920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9D2DF8F-C722-0F1E-4DFA-4CD6680859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31319330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843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D2DF8F-C722-0F1E-4DFA-4CD668085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1" name="Picture 40">
            <a:extLst>
              <a:ext uri="{FF2B5EF4-FFF2-40B4-BE49-F238E27FC236}">
                <a16:creationId xmlns:a16="http://schemas.microsoft.com/office/drawing/2014/main" id="{270A1AB5-BBAC-971F-02A6-1C4BA608A873}"/>
              </a:ext>
            </a:extLst>
          </p:cNvPr>
          <p:cNvPicPr>
            <a:picLocks noChangeAspect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35" y="1"/>
            <a:ext cx="4571504" cy="6854824"/>
          </a:xfrm>
          <a:prstGeom prst="rect">
            <a:avLst/>
          </a:prstGeom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B5251DC-A223-39F8-9BC2-1BF6A4C8FB47}"/>
              </a:ext>
            </a:extLst>
          </p:cNvPr>
          <p:cNvSpPr/>
          <p:nvPr/>
        </p:nvSpPr>
        <p:spPr>
          <a:xfrm>
            <a:off x="0" y="3176"/>
            <a:ext cx="4571574" cy="5729968"/>
          </a:xfrm>
          <a:prstGeom prst="rect">
            <a:avLst/>
          </a:prstGeom>
          <a:gradFill>
            <a:gsLst>
              <a:gs pos="0">
                <a:srgbClr val="6366AB">
                  <a:alpha val="0"/>
                </a:srgbClr>
              </a:gs>
              <a:gs pos="100000">
                <a:srgbClr val="B5317D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1277" y="472573"/>
            <a:ext cx="3514623" cy="166199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How realistic is being Mortgage Free?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BB19CD-6B9E-C753-D54E-56F7275C7F15}"/>
              </a:ext>
            </a:extLst>
          </p:cNvPr>
          <p:cNvSpPr txBox="1">
            <a:spLocks/>
          </p:cNvSpPr>
          <p:nvPr/>
        </p:nvSpPr>
        <p:spPr>
          <a:xfrm>
            <a:off x="5004618" y="472573"/>
            <a:ext cx="6489291" cy="2954655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"The average UK mortgage holder paid approximately £17,676 last year in repayments,"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 according to recent statistics. 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"Clearing your mortgage can significantly boost your disposable income, offering greater financial flexibility and peace of mind,"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 notes Angela Kerr from the </a:t>
            </a:r>
            <a:r>
              <a:rPr lang="en-GB" sz="2400" dirty="0" err="1">
                <a:latin typeface="Arial" panose="020B0604020202020204" pitchFamily="34" charset="0"/>
                <a:cs typeface="Arial" panose="020B0604020202020204" pitchFamily="34" charset="0"/>
              </a:rPr>
              <a:t>HomeOwners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 Alliance.</a:t>
            </a: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2A0FB873-D08F-5CB4-2C12-4436042C1E31}"/>
              </a:ext>
            </a:extLst>
          </p:cNvPr>
          <p:cNvSpPr txBox="1">
            <a:spLocks/>
          </p:cNvSpPr>
          <p:nvPr/>
        </p:nvSpPr>
        <p:spPr>
          <a:xfrm>
            <a:off x="5004618" y="3800104"/>
            <a:ext cx="6489291" cy="2585323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The great news is that paying off your mortgage early is a realistic goal with proper planning and effort. As Daniel Hegarty, CEO of online mortgage broker </a:t>
            </a:r>
            <a:r>
              <a:rPr lang="en-GB" sz="2400" dirty="0" err="1">
                <a:latin typeface="Arial" panose="020B0604020202020204" pitchFamily="34" charset="0"/>
                <a:cs typeface="Arial" panose="020B0604020202020204" pitchFamily="34" charset="0"/>
              </a:rPr>
              <a:t>Habito</a:t>
            </a:r>
            <a:r>
              <a:rPr lang="en-GB" sz="2400" dirty="0">
                <a:latin typeface="Arial" panose="020B0604020202020204" pitchFamily="34" charset="0"/>
                <a:cs typeface="Arial" panose="020B0604020202020204" pitchFamily="34" charset="0"/>
              </a:rPr>
              <a:t>, explains: </a:t>
            </a:r>
            <a:r>
              <a:rPr lang="en-GB" sz="2400" b="1" dirty="0">
                <a:latin typeface="Arial" panose="020B0604020202020204" pitchFamily="34" charset="0"/>
                <a:cs typeface="Arial" panose="020B0604020202020204" pitchFamily="34" charset="0"/>
              </a:rPr>
              <a:t>"Becoming mortgage-free remains a dream for millions across the UK, and with the right approach, it’s more achievable than you might think."</a:t>
            </a:r>
            <a:endParaRPr lang="en-GB" sz="240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203C7471-D43D-D12D-5849-C20236C5D45F}"/>
              </a:ext>
            </a:extLst>
          </p:cNvPr>
          <p:cNvCxnSpPr/>
          <p:nvPr/>
        </p:nvCxnSpPr>
        <p:spPr>
          <a:xfrm>
            <a:off x="5004618" y="3613666"/>
            <a:ext cx="6489291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151835096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9D2DF8F-C722-0F1E-4DFA-4CD6680859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3316617268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1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D2DF8F-C722-0F1E-4DFA-4CD668085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2">
            <a:extLst>
              <a:ext uri="{FF2B5EF4-FFF2-40B4-BE49-F238E27FC236}">
                <a16:creationId xmlns:a16="http://schemas.microsoft.com/office/drawing/2014/main" id="{EDEE9675-B365-D909-F00F-BE98D333675A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-35" y="3175"/>
            <a:ext cx="4571609" cy="685482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3" name="Rectangle 12">
            <a:extLst>
              <a:ext uri="{FF2B5EF4-FFF2-40B4-BE49-F238E27FC236}">
                <a16:creationId xmlns:a16="http://schemas.microsoft.com/office/drawing/2014/main" id="{9507257C-FBCA-D7CC-F169-4D43D9C297BA}"/>
              </a:ext>
            </a:extLst>
          </p:cNvPr>
          <p:cNvSpPr/>
          <p:nvPr/>
        </p:nvSpPr>
        <p:spPr>
          <a:xfrm>
            <a:off x="0" y="3176"/>
            <a:ext cx="4571574" cy="4492507"/>
          </a:xfrm>
          <a:prstGeom prst="rect">
            <a:avLst/>
          </a:prstGeom>
          <a:gradFill>
            <a:gsLst>
              <a:gs pos="0">
                <a:srgbClr val="6366AB">
                  <a:alpha val="0"/>
                </a:srgbClr>
              </a:gs>
              <a:gs pos="100000">
                <a:srgbClr val="B5317D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cxnSp>
        <p:nvCxnSpPr>
          <p:cNvPr id="38" name="Straight Connector 37">
            <a:extLst>
              <a:ext uri="{FF2B5EF4-FFF2-40B4-BE49-F238E27FC236}">
                <a16:creationId xmlns:a16="http://schemas.microsoft.com/office/drawing/2014/main" id="{203C7471-D43D-D12D-5849-C20236C5D45F}"/>
              </a:ext>
            </a:extLst>
          </p:cNvPr>
          <p:cNvCxnSpPr/>
          <p:nvPr/>
        </p:nvCxnSpPr>
        <p:spPr>
          <a:xfrm>
            <a:off x="5004618" y="4495683"/>
            <a:ext cx="6489291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BB19CD-6B9E-C753-D54E-56F7275C7F15}"/>
              </a:ext>
            </a:extLst>
          </p:cNvPr>
          <p:cNvSpPr txBox="1">
            <a:spLocks/>
          </p:cNvSpPr>
          <p:nvPr/>
        </p:nvSpPr>
        <p:spPr>
          <a:xfrm>
            <a:off x="5004618" y="666133"/>
            <a:ext cx="6489291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Mortgage overpayment involves </a:t>
            </a:r>
            <a:b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paying more than your regular monthly mortgage payment.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58208C48-6F99-276B-FDE9-829BABD7941B}"/>
              </a:ext>
            </a:extLst>
          </p:cNvPr>
          <p:cNvSpPr txBox="1">
            <a:spLocks/>
          </p:cNvSpPr>
          <p:nvPr/>
        </p:nvSpPr>
        <p:spPr>
          <a:xfrm>
            <a:off x="5752280" y="2268338"/>
            <a:ext cx="5525729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Regular: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Adding extra to your monthly payments.</a:t>
            </a:r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AF031296-62F5-D57D-A543-380F4A84B1EB}"/>
              </a:ext>
            </a:extLst>
          </p:cNvPr>
          <p:cNvSpPr txBox="1">
            <a:spLocks/>
          </p:cNvSpPr>
          <p:nvPr/>
        </p:nvSpPr>
        <p:spPr>
          <a:xfrm>
            <a:off x="5752280" y="3386743"/>
            <a:ext cx="5525729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b="1" dirty="0">
                <a:latin typeface="Arial" panose="020B0604020202020204" pitchFamily="34" charset="0"/>
                <a:cs typeface="Arial" panose="020B0604020202020204" pitchFamily="34" charset="0"/>
              </a:rPr>
              <a:t>One-off: </a:t>
            </a: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Making a lump sum payment.</a:t>
            </a:r>
          </a:p>
        </p:txBody>
      </p:sp>
      <p:sp>
        <p:nvSpPr>
          <p:cNvPr id="10" name="Oval 9">
            <a:extLst>
              <a:ext uri="{FF2B5EF4-FFF2-40B4-BE49-F238E27FC236}">
                <a16:creationId xmlns:a16="http://schemas.microsoft.com/office/drawing/2014/main" id="{795AE696-8D6E-8349-DBE2-408D2E6408AF}"/>
              </a:ext>
            </a:extLst>
          </p:cNvPr>
          <p:cNvSpPr/>
          <p:nvPr/>
        </p:nvSpPr>
        <p:spPr>
          <a:xfrm>
            <a:off x="5004619" y="2268338"/>
            <a:ext cx="442452" cy="442452"/>
          </a:xfrm>
          <a:prstGeom prst="ellipse">
            <a:avLst/>
          </a:prstGeom>
          <a:solidFill>
            <a:srgbClr val="6366AB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1</a:t>
            </a:r>
          </a:p>
        </p:txBody>
      </p:sp>
      <p:sp>
        <p:nvSpPr>
          <p:cNvPr id="11" name="Oval 10">
            <a:extLst>
              <a:ext uri="{FF2B5EF4-FFF2-40B4-BE49-F238E27FC236}">
                <a16:creationId xmlns:a16="http://schemas.microsoft.com/office/drawing/2014/main" id="{E53CAC61-DAB3-D61B-E714-8BD7FAE21A76}"/>
              </a:ext>
            </a:extLst>
          </p:cNvPr>
          <p:cNvSpPr/>
          <p:nvPr/>
        </p:nvSpPr>
        <p:spPr>
          <a:xfrm>
            <a:off x="5004619" y="3386743"/>
            <a:ext cx="442452" cy="442452"/>
          </a:xfrm>
          <a:prstGeom prst="ellipse">
            <a:avLst/>
          </a:prstGeom>
          <a:solidFill>
            <a:srgbClr val="6366AB"/>
          </a:solidFill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60FAC350-CCC7-9AC5-43EE-B0F33748CC40}"/>
              </a:ext>
            </a:extLst>
          </p:cNvPr>
          <p:cNvSpPr txBox="1">
            <a:spLocks/>
          </p:cNvSpPr>
          <p:nvPr/>
        </p:nvSpPr>
        <p:spPr>
          <a:xfrm>
            <a:off x="5004618" y="4742849"/>
            <a:ext cx="6489291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Check your lender’s overpayment policies, as some may charge penalties for early repayment.</a:t>
            </a: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511277" y="472573"/>
            <a:ext cx="3514623" cy="166199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What is Mortgage Overpayment?</a:t>
            </a:r>
          </a:p>
        </p:txBody>
      </p:sp>
    </p:spTree>
    <p:extLst>
      <p:ext uri="{BB962C8B-B14F-4D97-AF65-F5344CB8AC3E}">
        <p14:creationId xmlns:p14="http://schemas.microsoft.com/office/powerpoint/2010/main" val="81606930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9D2DF8F-C722-0F1E-4DFA-4CD6680859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672161555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362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D2DF8F-C722-0F1E-4DFA-4CD668085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5B5251DC-A223-39F8-9BC2-1BF6A4C8FB47}"/>
              </a:ext>
            </a:extLst>
          </p:cNvPr>
          <p:cNvSpPr/>
          <p:nvPr/>
        </p:nvSpPr>
        <p:spPr>
          <a:xfrm>
            <a:off x="3176" y="3176"/>
            <a:ext cx="12188824" cy="1414462"/>
          </a:xfrm>
          <a:prstGeom prst="rect">
            <a:avLst/>
          </a:prstGeom>
          <a:gradFill>
            <a:gsLst>
              <a:gs pos="19000">
                <a:srgbClr val="6366AB"/>
              </a:gs>
              <a:gs pos="100000">
                <a:srgbClr val="B5317D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48547"/>
            <a:ext cx="10972800" cy="987428"/>
          </a:xfrm>
        </p:spPr>
        <p:txBody>
          <a:bodyPr vert="horz" wrap="none" lIns="0" tIns="0" rIns="0" bIns="0" rtlCol="0" anchor="t">
            <a:no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Pros and Cons of Mortgage Overpayment</a:t>
            </a:r>
          </a:p>
        </p:txBody>
      </p:sp>
      <p:sp>
        <p:nvSpPr>
          <p:cNvPr id="3" name="Google Shape;97;p18">
            <a:extLst>
              <a:ext uri="{FF2B5EF4-FFF2-40B4-BE49-F238E27FC236}">
                <a16:creationId xmlns:a16="http://schemas.microsoft.com/office/drawing/2014/main" id="{F0F99FFC-B388-5E95-61A8-C2F5A3B32898}"/>
              </a:ext>
            </a:extLst>
          </p:cNvPr>
          <p:cNvSpPr/>
          <p:nvPr/>
        </p:nvSpPr>
        <p:spPr>
          <a:xfrm flipH="1">
            <a:off x="4209092" y="2481625"/>
            <a:ext cx="3335981" cy="3335980"/>
          </a:xfrm>
          <a:prstGeom prst="pie">
            <a:avLst>
              <a:gd name="adj1" fmla="val 5399759"/>
              <a:gd name="adj2" fmla="val 16200000"/>
            </a:avLst>
          </a:prstGeom>
          <a:solidFill>
            <a:srgbClr val="6366AB"/>
          </a:solidFill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None/>
            </a:pPr>
            <a:endParaRPr b="0" i="0" u="none" strike="noStrike" cap="none">
              <a:solidFill>
                <a:schemeClr val="dk1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sp>
        <p:nvSpPr>
          <p:cNvPr id="4" name="Google Shape;98;p18">
            <a:extLst>
              <a:ext uri="{FF2B5EF4-FFF2-40B4-BE49-F238E27FC236}">
                <a16:creationId xmlns:a16="http://schemas.microsoft.com/office/drawing/2014/main" id="{8ABF9836-E385-4086-6733-5E1623CEBF13}"/>
              </a:ext>
            </a:extLst>
          </p:cNvPr>
          <p:cNvSpPr/>
          <p:nvPr/>
        </p:nvSpPr>
        <p:spPr>
          <a:xfrm>
            <a:off x="3964113" y="2481625"/>
            <a:ext cx="3335981" cy="3335980"/>
          </a:xfrm>
          <a:prstGeom prst="pie">
            <a:avLst>
              <a:gd name="adj1" fmla="val 5399759"/>
              <a:gd name="adj2" fmla="val 16200000"/>
            </a:avLst>
          </a:prstGeom>
          <a:solidFill>
            <a:srgbClr val="B5317D"/>
          </a:solidFill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Clr>
                <a:schemeClr val="dk1"/>
              </a:buClr>
              <a:buSzPts val="1400"/>
              <a:buFont typeface="Roboto"/>
              <a:buNone/>
            </a:pPr>
            <a:endParaRPr b="0" i="0" u="none" strike="noStrike" cap="none">
              <a:solidFill>
                <a:schemeClr val="dk1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sp>
        <p:nvSpPr>
          <p:cNvPr id="6" name="Google Shape;99;p18">
            <a:extLst>
              <a:ext uri="{FF2B5EF4-FFF2-40B4-BE49-F238E27FC236}">
                <a16:creationId xmlns:a16="http://schemas.microsoft.com/office/drawing/2014/main" id="{52D396DC-4668-1B2F-CD3E-9D38774DFF03}"/>
              </a:ext>
            </a:extLst>
          </p:cNvPr>
          <p:cNvSpPr/>
          <p:nvPr/>
        </p:nvSpPr>
        <p:spPr>
          <a:xfrm>
            <a:off x="3690201" y="1962734"/>
            <a:ext cx="4373762" cy="4373761"/>
          </a:xfrm>
          <a:prstGeom prst="arc">
            <a:avLst>
              <a:gd name="adj1" fmla="val 16200000"/>
              <a:gd name="adj2" fmla="val 5427837"/>
            </a:avLst>
          </a:prstGeom>
          <a:noFill/>
          <a:ln w="25400" cap="flat" cmpd="sng">
            <a:solidFill>
              <a:schemeClr val="accent1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b="0" i="0" u="none" strike="noStrike" cap="none">
              <a:solidFill>
                <a:schemeClr val="dk1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sp>
        <p:nvSpPr>
          <p:cNvPr id="7" name="Google Shape;100;p18">
            <a:extLst>
              <a:ext uri="{FF2B5EF4-FFF2-40B4-BE49-F238E27FC236}">
                <a16:creationId xmlns:a16="http://schemas.microsoft.com/office/drawing/2014/main" id="{F8728486-3CD5-7D42-D8E6-365340C72D13}"/>
              </a:ext>
            </a:extLst>
          </p:cNvPr>
          <p:cNvSpPr/>
          <p:nvPr/>
        </p:nvSpPr>
        <p:spPr>
          <a:xfrm>
            <a:off x="3445223" y="1962734"/>
            <a:ext cx="4373762" cy="4373761"/>
          </a:xfrm>
          <a:prstGeom prst="arc">
            <a:avLst>
              <a:gd name="adj1" fmla="val 5629100"/>
              <a:gd name="adj2" fmla="val 16053394"/>
            </a:avLst>
          </a:prstGeom>
          <a:noFill/>
          <a:ln w="25400" cap="flat" cmpd="sng">
            <a:solidFill>
              <a:schemeClr val="accent1"/>
            </a:solidFill>
            <a:prstDash val="dash"/>
            <a:miter lim="800000"/>
            <a:headEnd type="none" w="sm" len="sm"/>
            <a:tailEnd type="none" w="sm" len="sm"/>
          </a:ln>
        </p:spPr>
        <p:txBody>
          <a:bodyPr spcFirstLastPara="1" wrap="square" lIns="68575" tIns="34275" rIns="68575" bIns="34275" anchor="ctr" anchorCtr="0">
            <a:noAutofit/>
          </a:bodyPr>
          <a:lstStyle/>
          <a:p>
            <a:pPr marL="0" marR="0" lvl="0" indent="0" algn="ctr" rtl="0">
              <a:spcBef>
                <a:spcPts val="0"/>
              </a:spcBef>
              <a:spcAft>
                <a:spcPts val="0"/>
              </a:spcAft>
              <a:buNone/>
            </a:pPr>
            <a:endParaRPr b="0" i="0" u="none" strike="noStrike" cap="none" dirty="0">
              <a:solidFill>
                <a:schemeClr val="dk1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sp>
        <p:nvSpPr>
          <p:cNvPr id="9" name="Google Shape;101;p18">
            <a:extLst>
              <a:ext uri="{FF2B5EF4-FFF2-40B4-BE49-F238E27FC236}">
                <a16:creationId xmlns:a16="http://schemas.microsoft.com/office/drawing/2014/main" id="{C32C35CA-F5C1-1A3C-F513-AB956B2F96AA}"/>
              </a:ext>
            </a:extLst>
          </p:cNvPr>
          <p:cNvSpPr/>
          <p:nvPr/>
        </p:nvSpPr>
        <p:spPr>
          <a:xfrm>
            <a:off x="4090800" y="1913314"/>
            <a:ext cx="684569" cy="684617"/>
          </a:xfrm>
          <a:custGeom>
            <a:avLst/>
            <a:gdLst/>
            <a:ahLst/>
            <a:cxnLst/>
            <a:rect l="l" t="t" r="r" b="b"/>
            <a:pathLst>
              <a:path w="14026" h="14027" extrusionOk="0">
                <a:moveTo>
                  <a:pt x="7013" y="1"/>
                </a:moveTo>
                <a:cubicBezTo>
                  <a:pt x="3143" y="1"/>
                  <a:pt x="0" y="3144"/>
                  <a:pt x="0" y="7013"/>
                </a:cubicBezTo>
                <a:cubicBezTo>
                  <a:pt x="0" y="10883"/>
                  <a:pt x="3143" y="14026"/>
                  <a:pt x="7013" y="14026"/>
                </a:cubicBezTo>
                <a:cubicBezTo>
                  <a:pt x="10882" y="14026"/>
                  <a:pt x="14026" y="10883"/>
                  <a:pt x="14026" y="7013"/>
                </a:cubicBezTo>
                <a:cubicBezTo>
                  <a:pt x="14026" y="3144"/>
                  <a:pt x="10882" y="1"/>
                  <a:pt x="7013" y="1"/>
                </a:cubicBezTo>
                <a:close/>
              </a:path>
            </a:pathLst>
          </a:custGeom>
          <a:solidFill>
            <a:srgbClr val="B5317D"/>
          </a:solidFill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1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sp>
        <p:nvSpPr>
          <p:cNvPr id="30" name="Google Shape;111;p18">
            <a:extLst>
              <a:ext uri="{FF2B5EF4-FFF2-40B4-BE49-F238E27FC236}">
                <a16:creationId xmlns:a16="http://schemas.microsoft.com/office/drawing/2014/main" id="{17B29595-4343-9838-AC49-4A64689B3064}"/>
              </a:ext>
            </a:extLst>
          </p:cNvPr>
          <p:cNvSpPr/>
          <p:nvPr/>
        </p:nvSpPr>
        <p:spPr>
          <a:xfrm>
            <a:off x="3047717" y="3826187"/>
            <a:ext cx="684569" cy="684617"/>
          </a:xfrm>
          <a:custGeom>
            <a:avLst/>
            <a:gdLst/>
            <a:ahLst/>
            <a:cxnLst/>
            <a:rect l="l" t="t" r="r" b="b"/>
            <a:pathLst>
              <a:path w="14026" h="14027" extrusionOk="0">
                <a:moveTo>
                  <a:pt x="7013" y="1"/>
                </a:moveTo>
                <a:cubicBezTo>
                  <a:pt x="3143" y="1"/>
                  <a:pt x="0" y="3144"/>
                  <a:pt x="0" y="7013"/>
                </a:cubicBezTo>
                <a:cubicBezTo>
                  <a:pt x="0" y="10883"/>
                  <a:pt x="3143" y="14026"/>
                  <a:pt x="7013" y="14026"/>
                </a:cubicBezTo>
                <a:cubicBezTo>
                  <a:pt x="10882" y="14026"/>
                  <a:pt x="14026" y="10883"/>
                  <a:pt x="14026" y="7013"/>
                </a:cubicBezTo>
                <a:cubicBezTo>
                  <a:pt x="14026" y="3144"/>
                  <a:pt x="10882" y="1"/>
                  <a:pt x="7013" y="1"/>
                </a:cubicBezTo>
                <a:close/>
              </a:path>
            </a:pathLst>
          </a:custGeom>
          <a:solidFill>
            <a:srgbClr val="B5317D"/>
          </a:solidFill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1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sp>
        <p:nvSpPr>
          <p:cNvPr id="31" name="Google Shape;112;p18">
            <a:extLst>
              <a:ext uri="{FF2B5EF4-FFF2-40B4-BE49-F238E27FC236}">
                <a16:creationId xmlns:a16="http://schemas.microsoft.com/office/drawing/2014/main" id="{89611B3E-0166-8DB7-8404-B4C06AC9EBB2}"/>
              </a:ext>
            </a:extLst>
          </p:cNvPr>
          <p:cNvSpPr/>
          <p:nvPr/>
        </p:nvSpPr>
        <p:spPr>
          <a:xfrm>
            <a:off x="4090800" y="5651878"/>
            <a:ext cx="684569" cy="684617"/>
          </a:xfrm>
          <a:custGeom>
            <a:avLst/>
            <a:gdLst/>
            <a:ahLst/>
            <a:cxnLst/>
            <a:rect l="l" t="t" r="r" b="b"/>
            <a:pathLst>
              <a:path w="14026" h="14027" extrusionOk="0">
                <a:moveTo>
                  <a:pt x="7013" y="1"/>
                </a:moveTo>
                <a:cubicBezTo>
                  <a:pt x="3143" y="1"/>
                  <a:pt x="0" y="3144"/>
                  <a:pt x="0" y="7013"/>
                </a:cubicBezTo>
                <a:cubicBezTo>
                  <a:pt x="0" y="10883"/>
                  <a:pt x="3143" y="14026"/>
                  <a:pt x="7013" y="14026"/>
                </a:cubicBezTo>
                <a:cubicBezTo>
                  <a:pt x="10882" y="14026"/>
                  <a:pt x="14026" y="10883"/>
                  <a:pt x="14026" y="7013"/>
                </a:cubicBezTo>
                <a:cubicBezTo>
                  <a:pt x="14026" y="3144"/>
                  <a:pt x="10882" y="1"/>
                  <a:pt x="7013" y="1"/>
                </a:cubicBezTo>
                <a:close/>
              </a:path>
            </a:pathLst>
          </a:custGeom>
          <a:solidFill>
            <a:srgbClr val="B5317D"/>
          </a:solidFill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1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sp>
        <p:nvSpPr>
          <p:cNvPr id="32" name="Google Shape;113;p18">
            <a:extLst>
              <a:ext uri="{FF2B5EF4-FFF2-40B4-BE49-F238E27FC236}">
                <a16:creationId xmlns:a16="http://schemas.microsoft.com/office/drawing/2014/main" id="{49C073B6-F253-C05D-DAFB-AC3F5335FE52}"/>
              </a:ext>
            </a:extLst>
          </p:cNvPr>
          <p:cNvSpPr/>
          <p:nvPr/>
        </p:nvSpPr>
        <p:spPr>
          <a:xfrm>
            <a:off x="7708526" y="3826187"/>
            <a:ext cx="684568" cy="684617"/>
          </a:xfrm>
          <a:custGeom>
            <a:avLst/>
            <a:gdLst/>
            <a:ahLst/>
            <a:cxnLst/>
            <a:rect l="l" t="t" r="r" b="b"/>
            <a:pathLst>
              <a:path w="14026" h="14027" extrusionOk="0">
                <a:moveTo>
                  <a:pt x="7013" y="1"/>
                </a:moveTo>
                <a:cubicBezTo>
                  <a:pt x="3143" y="1"/>
                  <a:pt x="0" y="3144"/>
                  <a:pt x="0" y="7013"/>
                </a:cubicBezTo>
                <a:cubicBezTo>
                  <a:pt x="0" y="10883"/>
                  <a:pt x="3143" y="14026"/>
                  <a:pt x="7013" y="14026"/>
                </a:cubicBezTo>
                <a:cubicBezTo>
                  <a:pt x="10882" y="14026"/>
                  <a:pt x="14026" y="10883"/>
                  <a:pt x="14026" y="7013"/>
                </a:cubicBezTo>
                <a:cubicBezTo>
                  <a:pt x="14026" y="3144"/>
                  <a:pt x="10882" y="1"/>
                  <a:pt x="7013" y="1"/>
                </a:cubicBezTo>
                <a:close/>
              </a:path>
            </a:pathLst>
          </a:custGeom>
          <a:solidFill>
            <a:srgbClr val="6366AB"/>
          </a:solidFill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1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sp>
        <p:nvSpPr>
          <p:cNvPr id="33" name="Google Shape;114;p18">
            <a:extLst>
              <a:ext uri="{FF2B5EF4-FFF2-40B4-BE49-F238E27FC236}">
                <a16:creationId xmlns:a16="http://schemas.microsoft.com/office/drawing/2014/main" id="{09A27BD8-6E5F-7159-F614-AFF02FE02012}"/>
              </a:ext>
            </a:extLst>
          </p:cNvPr>
          <p:cNvSpPr/>
          <p:nvPr/>
        </p:nvSpPr>
        <p:spPr>
          <a:xfrm>
            <a:off x="6682787" y="5651878"/>
            <a:ext cx="684569" cy="684617"/>
          </a:xfrm>
          <a:custGeom>
            <a:avLst/>
            <a:gdLst/>
            <a:ahLst/>
            <a:cxnLst/>
            <a:rect l="l" t="t" r="r" b="b"/>
            <a:pathLst>
              <a:path w="14026" h="14027" extrusionOk="0">
                <a:moveTo>
                  <a:pt x="7013" y="1"/>
                </a:moveTo>
                <a:cubicBezTo>
                  <a:pt x="3143" y="1"/>
                  <a:pt x="0" y="3144"/>
                  <a:pt x="0" y="7013"/>
                </a:cubicBezTo>
                <a:cubicBezTo>
                  <a:pt x="0" y="10883"/>
                  <a:pt x="3143" y="14026"/>
                  <a:pt x="7013" y="14026"/>
                </a:cubicBezTo>
                <a:cubicBezTo>
                  <a:pt x="10882" y="14026"/>
                  <a:pt x="14026" y="10883"/>
                  <a:pt x="14026" y="7013"/>
                </a:cubicBezTo>
                <a:cubicBezTo>
                  <a:pt x="14026" y="3144"/>
                  <a:pt x="10882" y="1"/>
                  <a:pt x="7013" y="1"/>
                </a:cubicBezTo>
                <a:close/>
              </a:path>
            </a:pathLst>
          </a:custGeom>
          <a:solidFill>
            <a:srgbClr val="6366AB"/>
          </a:solidFill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1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sp>
        <p:nvSpPr>
          <p:cNvPr id="34" name="Google Shape;115;p18">
            <a:extLst>
              <a:ext uri="{FF2B5EF4-FFF2-40B4-BE49-F238E27FC236}">
                <a16:creationId xmlns:a16="http://schemas.microsoft.com/office/drawing/2014/main" id="{FF067E3A-9DA1-1F5F-BEA9-50762C6B40BF}"/>
              </a:ext>
            </a:extLst>
          </p:cNvPr>
          <p:cNvSpPr/>
          <p:nvPr/>
        </p:nvSpPr>
        <p:spPr>
          <a:xfrm>
            <a:off x="6682787" y="1913314"/>
            <a:ext cx="684569" cy="684617"/>
          </a:xfrm>
          <a:custGeom>
            <a:avLst/>
            <a:gdLst/>
            <a:ahLst/>
            <a:cxnLst/>
            <a:rect l="l" t="t" r="r" b="b"/>
            <a:pathLst>
              <a:path w="14026" h="14027" extrusionOk="0">
                <a:moveTo>
                  <a:pt x="7013" y="1"/>
                </a:moveTo>
                <a:cubicBezTo>
                  <a:pt x="3143" y="1"/>
                  <a:pt x="0" y="3144"/>
                  <a:pt x="0" y="7013"/>
                </a:cubicBezTo>
                <a:cubicBezTo>
                  <a:pt x="0" y="10883"/>
                  <a:pt x="3143" y="14026"/>
                  <a:pt x="7013" y="14026"/>
                </a:cubicBezTo>
                <a:cubicBezTo>
                  <a:pt x="10882" y="14026"/>
                  <a:pt x="14026" y="10883"/>
                  <a:pt x="14026" y="7013"/>
                </a:cubicBezTo>
                <a:cubicBezTo>
                  <a:pt x="14026" y="3144"/>
                  <a:pt x="10882" y="1"/>
                  <a:pt x="7013" y="1"/>
                </a:cubicBezTo>
                <a:close/>
              </a:path>
            </a:pathLst>
          </a:custGeom>
          <a:solidFill>
            <a:srgbClr val="6366AB"/>
          </a:solidFill>
          <a:ln>
            <a:noFill/>
          </a:ln>
        </p:spPr>
        <p:txBody>
          <a:bodyPr spcFirstLastPara="1" wrap="square" lIns="68575" tIns="68575" rIns="68575" bIns="68575" anchor="ctr" anchorCtr="0">
            <a:no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endParaRPr>
              <a:solidFill>
                <a:schemeClr val="dk1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sp>
        <p:nvSpPr>
          <p:cNvPr id="36" name="Google Shape;117;p18">
            <a:extLst>
              <a:ext uri="{FF2B5EF4-FFF2-40B4-BE49-F238E27FC236}">
                <a16:creationId xmlns:a16="http://schemas.microsoft.com/office/drawing/2014/main" id="{695B823C-2E30-E483-97CD-A70506AB14DE}"/>
              </a:ext>
            </a:extLst>
          </p:cNvPr>
          <p:cNvSpPr txBox="1"/>
          <p:nvPr/>
        </p:nvSpPr>
        <p:spPr>
          <a:xfrm>
            <a:off x="525971" y="2009401"/>
            <a:ext cx="3274689" cy="5539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 i="0" dirty="0">
                <a:solidFill>
                  <a:srgbClr val="262626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Reduces the total interest paid over the loan term.</a:t>
            </a:r>
            <a:endParaRPr dirty="0">
              <a:solidFill>
                <a:srgbClr val="262626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sp>
        <p:nvSpPr>
          <p:cNvPr id="39" name="Google Shape;123;p18">
            <a:extLst>
              <a:ext uri="{FF2B5EF4-FFF2-40B4-BE49-F238E27FC236}">
                <a16:creationId xmlns:a16="http://schemas.microsoft.com/office/drawing/2014/main" id="{0AC5566E-D5C1-BAB6-9965-1FD5E73B0B2E}"/>
              </a:ext>
            </a:extLst>
          </p:cNvPr>
          <p:cNvSpPr txBox="1"/>
          <p:nvPr/>
        </p:nvSpPr>
        <p:spPr>
          <a:xfrm>
            <a:off x="1212782" y="5809520"/>
            <a:ext cx="2557393" cy="415498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IN" b="0" i="0" dirty="0">
                <a:solidFill>
                  <a:srgbClr val="262626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Builds equity faster.</a:t>
            </a:r>
          </a:p>
        </p:txBody>
      </p:sp>
      <p:sp>
        <p:nvSpPr>
          <p:cNvPr id="82" name="Google Shape;161;p18">
            <a:extLst>
              <a:ext uri="{FF2B5EF4-FFF2-40B4-BE49-F238E27FC236}">
                <a16:creationId xmlns:a16="http://schemas.microsoft.com/office/drawing/2014/main" id="{B0CC90C2-0E5F-5D00-ADA1-1EEF8AC4898C}"/>
              </a:ext>
            </a:extLst>
          </p:cNvPr>
          <p:cNvSpPr txBox="1"/>
          <p:nvPr/>
        </p:nvSpPr>
        <p:spPr>
          <a:xfrm>
            <a:off x="8556547" y="3922274"/>
            <a:ext cx="3025853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l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 i="0" dirty="0">
                <a:solidFill>
                  <a:srgbClr val="262626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Opportunity cost: Could the money be better invested elsewhere?</a:t>
            </a:r>
          </a:p>
        </p:txBody>
      </p:sp>
      <p:sp>
        <p:nvSpPr>
          <p:cNvPr id="85" name="Google Shape;164;p18">
            <a:extLst>
              <a:ext uri="{FF2B5EF4-FFF2-40B4-BE49-F238E27FC236}">
                <a16:creationId xmlns:a16="http://schemas.microsoft.com/office/drawing/2014/main" id="{0F41BE05-DCAD-4DAF-D870-0A17A74DCBB9}"/>
              </a:ext>
            </a:extLst>
          </p:cNvPr>
          <p:cNvSpPr txBox="1"/>
          <p:nvPr/>
        </p:nvSpPr>
        <p:spPr>
          <a:xfrm>
            <a:off x="7573475" y="5809520"/>
            <a:ext cx="4065215" cy="415498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 i="0" dirty="0">
                <a:solidFill>
                  <a:srgbClr val="262626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Early repayment charges (if applicable).</a:t>
            </a:r>
          </a:p>
        </p:txBody>
      </p:sp>
      <p:sp>
        <p:nvSpPr>
          <p:cNvPr id="100" name="Google Shape;161;p18">
            <a:extLst>
              <a:ext uri="{FF2B5EF4-FFF2-40B4-BE49-F238E27FC236}">
                <a16:creationId xmlns:a16="http://schemas.microsoft.com/office/drawing/2014/main" id="{651CB6DE-59D1-E2BA-5F95-6E61A4E81DDC}"/>
              </a:ext>
            </a:extLst>
          </p:cNvPr>
          <p:cNvSpPr txBox="1"/>
          <p:nvPr/>
        </p:nvSpPr>
        <p:spPr>
          <a:xfrm>
            <a:off x="351359" y="3922274"/>
            <a:ext cx="2557393" cy="830997"/>
          </a:xfrm>
          <a:prstGeom prst="rect">
            <a:avLst/>
          </a:prstGeom>
          <a:noFill/>
          <a:ln>
            <a:noFill/>
          </a:ln>
        </p:spPr>
        <p:txBody>
          <a:bodyPr spcFirstLastPara="1" wrap="square" lIns="0" tIns="0" rIns="0" bIns="0" anchor="t" anchorCtr="0">
            <a:spAutoFit/>
          </a:bodyPr>
          <a:lstStyle/>
          <a:p>
            <a:pPr marL="0" marR="0" lvl="0" indent="0" algn="r" rtl="0"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 i="0" dirty="0">
                <a:solidFill>
                  <a:srgbClr val="262626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Shortens the mortgage term, freeing you from debt sooner.</a:t>
            </a:r>
            <a:endParaRPr dirty="0">
              <a:solidFill>
                <a:srgbClr val="262626"/>
              </a:solidFill>
              <a:latin typeface="Arial" panose="020B0604020202020204" pitchFamily="34" charset="0"/>
              <a:ea typeface="Roboto"/>
              <a:cs typeface="Arial" panose="020B0604020202020204" pitchFamily="34" charset="0"/>
              <a:sym typeface="Roboto"/>
            </a:endParaRPr>
          </a:p>
        </p:txBody>
      </p:sp>
      <p:grpSp>
        <p:nvGrpSpPr>
          <p:cNvPr id="104" name="Group 103">
            <a:extLst>
              <a:ext uri="{FF2B5EF4-FFF2-40B4-BE49-F238E27FC236}">
                <a16:creationId xmlns:a16="http://schemas.microsoft.com/office/drawing/2014/main" id="{C58C8D5C-796C-0BAD-FE4B-7A2D6B77B4CE}"/>
              </a:ext>
            </a:extLst>
          </p:cNvPr>
          <p:cNvGrpSpPr/>
          <p:nvPr/>
        </p:nvGrpSpPr>
        <p:grpSpPr>
          <a:xfrm>
            <a:off x="4567453" y="3616131"/>
            <a:ext cx="2324307" cy="1066968"/>
            <a:chOff x="4567453" y="3529644"/>
            <a:chExt cx="2324307" cy="1066968"/>
          </a:xfrm>
        </p:grpSpPr>
        <p:sp>
          <p:nvSpPr>
            <p:cNvPr id="79" name="Google Shape;158;p18">
              <a:extLst>
                <a:ext uri="{FF2B5EF4-FFF2-40B4-BE49-F238E27FC236}">
                  <a16:creationId xmlns:a16="http://schemas.microsoft.com/office/drawing/2014/main" id="{2253D7BA-FB6F-3944-CC68-6A265EFEA746}"/>
                </a:ext>
              </a:extLst>
            </p:cNvPr>
            <p:cNvSpPr txBox="1"/>
            <p:nvPr/>
          </p:nvSpPr>
          <p:spPr>
            <a:xfrm>
              <a:off x="4567453" y="4227279"/>
              <a:ext cx="629981" cy="3693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0" tIns="0" rIns="0" bIns="0" anchor="t" anchorCtr="0">
              <a:noAutofit/>
            </a:bodyPr>
            <a:lstStyle/>
            <a:p>
              <a:pPr marL="0" marR="0" lvl="0" indent="0" algn="ctr" rtl="0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IN" b="1" dirty="0">
                  <a:solidFill>
                    <a:schemeClr val="bg1"/>
                  </a:solidFill>
                  <a:latin typeface="Arial" panose="020B0604020202020204" pitchFamily="34" charset="0"/>
                  <a:ea typeface="Ubuntu"/>
                  <a:cs typeface="Arial" panose="020B0604020202020204" pitchFamily="34" charset="0"/>
                  <a:sym typeface="Ubuntu"/>
                </a:rPr>
                <a:t>Pros</a:t>
              </a:r>
              <a:endParaRPr lang="en-IN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grpSp>
          <p:nvGrpSpPr>
            <p:cNvPr id="87" name="Google Shape;166;p18">
              <a:extLst>
                <a:ext uri="{FF2B5EF4-FFF2-40B4-BE49-F238E27FC236}">
                  <a16:creationId xmlns:a16="http://schemas.microsoft.com/office/drawing/2014/main" id="{B027F38E-E986-E81D-B0FC-9B2C6C928258}"/>
                </a:ext>
              </a:extLst>
            </p:cNvPr>
            <p:cNvGrpSpPr/>
            <p:nvPr/>
          </p:nvGrpSpPr>
          <p:grpSpPr>
            <a:xfrm>
              <a:off x="4606664" y="3529644"/>
              <a:ext cx="551558" cy="615298"/>
              <a:chOff x="3299850" y="238575"/>
              <a:chExt cx="427725" cy="482225"/>
            </a:xfrm>
          </p:grpSpPr>
          <p:sp>
            <p:nvSpPr>
              <p:cNvPr id="88" name="Google Shape;167;p18">
                <a:extLst>
                  <a:ext uri="{FF2B5EF4-FFF2-40B4-BE49-F238E27FC236}">
                    <a16:creationId xmlns:a16="http://schemas.microsoft.com/office/drawing/2014/main" id="{C3D527E3-A458-F178-746E-444AFBB967E1}"/>
                  </a:ext>
                </a:extLst>
              </p:cNvPr>
              <p:cNvSpPr/>
              <p:nvPr/>
            </p:nvSpPr>
            <p:spPr>
              <a:xfrm>
                <a:off x="3299850" y="323500"/>
                <a:ext cx="427725" cy="397300"/>
              </a:xfrm>
              <a:custGeom>
                <a:avLst/>
                <a:gdLst/>
                <a:ahLst/>
                <a:cxnLst/>
                <a:rect l="l" t="t" r="r" b="b"/>
                <a:pathLst>
                  <a:path w="17109" h="15892" extrusionOk="0">
                    <a:moveTo>
                      <a:pt x="3397" y="6794"/>
                    </a:moveTo>
                    <a:lnTo>
                      <a:pt x="3397" y="14759"/>
                    </a:lnTo>
                    <a:lnTo>
                      <a:pt x="1132" y="14759"/>
                    </a:lnTo>
                    <a:lnTo>
                      <a:pt x="1132" y="6794"/>
                    </a:lnTo>
                    <a:close/>
                    <a:moveTo>
                      <a:pt x="9034" y="1132"/>
                    </a:moveTo>
                    <a:cubicBezTo>
                      <a:pt x="9683" y="1175"/>
                      <a:pt x="10191" y="1712"/>
                      <a:pt x="10191" y="2364"/>
                    </a:cubicBezTo>
                    <a:cubicBezTo>
                      <a:pt x="10191" y="3346"/>
                      <a:pt x="9774" y="5275"/>
                      <a:pt x="9221" y="5828"/>
                    </a:cubicBezTo>
                    <a:cubicBezTo>
                      <a:pt x="8865" y="6184"/>
                      <a:pt x="9119" y="6794"/>
                      <a:pt x="9623" y="6794"/>
                    </a:cubicBezTo>
                    <a:lnTo>
                      <a:pt x="15285" y="6794"/>
                    </a:lnTo>
                    <a:cubicBezTo>
                      <a:pt x="15599" y="6794"/>
                      <a:pt x="15849" y="7047"/>
                      <a:pt x="15849" y="7361"/>
                    </a:cubicBezTo>
                    <a:cubicBezTo>
                      <a:pt x="15849" y="7672"/>
                      <a:pt x="15599" y="7926"/>
                      <a:pt x="15285" y="7926"/>
                    </a:cubicBezTo>
                    <a:lnTo>
                      <a:pt x="11888" y="7926"/>
                    </a:lnTo>
                    <a:cubicBezTo>
                      <a:pt x="11574" y="7926"/>
                      <a:pt x="11323" y="8180"/>
                      <a:pt x="11323" y="8494"/>
                    </a:cubicBezTo>
                    <a:cubicBezTo>
                      <a:pt x="11323" y="8805"/>
                      <a:pt x="11574" y="9058"/>
                      <a:pt x="11888" y="9058"/>
                    </a:cubicBezTo>
                    <a:lnTo>
                      <a:pt x="15285" y="9058"/>
                    </a:lnTo>
                    <a:cubicBezTo>
                      <a:pt x="15586" y="9058"/>
                      <a:pt x="15852" y="9342"/>
                      <a:pt x="15852" y="9662"/>
                    </a:cubicBezTo>
                    <a:cubicBezTo>
                      <a:pt x="15852" y="9976"/>
                      <a:pt x="15599" y="10230"/>
                      <a:pt x="15285" y="10230"/>
                    </a:cubicBezTo>
                    <a:lnTo>
                      <a:pt x="11888" y="10230"/>
                    </a:lnTo>
                    <a:cubicBezTo>
                      <a:pt x="11574" y="10230"/>
                      <a:pt x="11323" y="10484"/>
                      <a:pt x="11323" y="10795"/>
                    </a:cubicBezTo>
                    <a:cubicBezTo>
                      <a:pt x="11323" y="11109"/>
                      <a:pt x="11574" y="11362"/>
                      <a:pt x="11888" y="11362"/>
                    </a:cubicBezTo>
                    <a:lnTo>
                      <a:pt x="14152" y="11362"/>
                    </a:lnTo>
                    <a:cubicBezTo>
                      <a:pt x="14466" y="11362"/>
                      <a:pt x="14717" y="11616"/>
                      <a:pt x="14717" y="11927"/>
                    </a:cubicBezTo>
                    <a:cubicBezTo>
                      <a:pt x="14717" y="12241"/>
                      <a:pt x="14466" y="12494"/>
                      <a:pt x="14152" y="12494"/>
                    </a:cubicBezTo>
                    <a:lnTo>
                      <a:pt x="11888" y="12494"/>
                    </a:lnTo>
                    <a:cubicBezTo>
                      <a:pt x="11574" y="12494"/>
                      <a:pt x="11323" y="12748"/>
                      <a:pt x="11323" y="13059"/>
                    </a:cubicBezTo>
                    <a:cubicBezTo>
                      <a:pt x="11323" y="13373"/>
                      <a:pt x="11574" y="13627"/>
                      <a:pt x="11888" y="13627"/>
                    </a:cubicBezTo>
                    <a:lnTo>
                      <a:pt x="13020" y="13627"/>
                    </a:lnTo>
                    <a:cubicBezTo>
                      <a:pt x="13334" y="13627"/>
                      <a:pt x="13585" y="13880"/>
                      <a:pt x="13585" y="14191"/>
                    </a:cubicBezTo>
                    <a:cubicBezTo>
                      <a:pt x="13585" y="14505"/>
                      <a:pt x="13334" y="14759"/>
                      <a:pt x="13020" y="14759"/>
                    </a:cubicBezTo>
                    <a:lnTo>
                      <a:pt x="9197" y="14759"/>
                    </a:lnTo>
                    <a:cubicBezTo>
                      <a:pt x="8041" y="14759"/>
                      <a:pt x="6890" y="14572"/>
                      <a:pt x="5794" y="14207"/>
                    </a:cubicBezTo>
                    <a:lnTo>
                      <a:pt x="4529" y="13784"/>
                    </a:lnTo>
                    <a:lnTo>
                      <a:pt x="4529" y="7712"/>
                    </a:lnTo>
                    <a:lnTo>
                      <a:pt x="5686" y="7132"/>
                    </a:lnTo>
                    <a:cubicBezTo>
                      <a:pt x="6265" y="6842"/>
                      <a:pt x="6797" y="6459"/>
                      <a:pt x="7253" y="6003"/>
                    </a:cubicBezTo>
                    <a:lnTo>
                      <a:pt x="7289" y="5963"/>
                    </a:lnTo>
                    <a:cubicBezTo>
                      <a:pt x="8352" y="4901"/>
                      <a:pt x="8917" y="2654"/>
                      <a:pt x="9034" y="1132"/>
                    </a:cubicBezTo>
                    <a:close/>
                    <a:moveTo>
                      <a:pt x="8491" y="0"/>
                    </a:moveTo>
                    <a:cubicBezTo>
                      <a:pt x="8177" y="0"/>
                      <a:pt x="7926" y="254"/>
                      <a:pt x="7926" y="568"/>
                    </a:cubicBezTo>
                    <a:cubicBezTo>
                      <a:pt x="7926" y="1887"/>
                      <a:pt x="7380" y="4276"/>
                      <a:pt x="6492" y="5166"/>
                    </a:cubicBezTo>
                    <a:lnTo>
                      <a:pt x="6456" y="5203"/>
                    </a:lnTo>
                    <a:cubicBezTo>
                      <a:pt x="6081" y="5574"/>
                      <a:pt x="5652" y="5885"/>
                      <a:pt x="5181" y="6120"/>
                    </a:cubicBezTo>
                    <a:lnTo>
                      <a:pt x="4529" y="6444"/>
                    </a:lnTo>
                    <a:lnTo>
                      <a:pt x="4529" y="6229"/>
                    </a:lnTo>
                    <a:cubicBezTo>
                      <a:pt x="4529" y="5915"/>
                      <a:pt x="4276" y="5661"/>
                      <a:pt x="3962" y="5661"/>
                    </a:cubicBezTo>
                    <a:lnTo>
                      <a:pt x="565" y="5661"/>
                    </a:lnTo>
                    <a:cubicBezTo>
                      <a:pt x="251" y="5661"/>
                      <a:pt x="0" y="5915"/>
                      <a:pt x="0" y="6229"/>
                    </a:cubicBezTo>
                    <a:lnTo>
                      <a:pt x="0" y="15324"/>
                    </a:lnTo>
                    <a:cubicBezTo>
                      <a:pt x="0" y="15638"/>
                      <a:pt x="251" y="15891"/>
                      <a:pt x="565" y="15891"/>
                    </a:cubicBezTo>
                    <a:lnTo>
                      <a:pt x="3962" y="15891"/>
                    </a:lnTo>
                    <a:cubicBezTo>
                      <a:pt x="4276" y="15891"/>
                      <a:pt x="4529" y="15638"/>
                      <a:pt x="4529" y="15324"/>
                    </a:cubicBezTo>
                    <a:lnTo>
                      <a:pt x="4529" y="14976"/>
                    </a:lnTo>
                    <a:lnTo>
                      <a:pt x="5435" y="15278"/>
                    </a:lnTo>
                    <a:cubicBezTo>
                      <a:pt x="6649" y="15683"/>
                      <a:pt x="7917" y="15888"/>
                      <a:pt x="9197" y="15888"/>
                    </a:cubicBezTo>
                    <a:lnTo>
                      <a:pt x="13020" y="15888"/>
                    </a:lnTo>
                    <a:cubicBezTo>
                      <a:pt x="14219" y="15888"/>
                      <a:pt x="15040" y="14681"/>
                      <a:pt x="14599" y="13566"/>
                    </a:cubicBezTo>
                    <a:cubicBezTo>
                      <a:pt x="15577" y="13298"/>
                      <a:pt x="16106" y="12241"/>
                      <a:pt x="15731" y="11302"/>
                    </a:cubicBezTo>
                    <a:cubicBezTo>
                      <a:pt x="16468" y="11100"/>
                      <a:pt x="16981" y="10429"/>
                      <a:pt x="16984" y="9662"/>
                    </a:cubicBezTo>
                    <a:cubicBezTo>
                      <a:pt x="16981" y="9233"/>
                      <a:pt x="16824" y="8823"/>
                      <a:pt x="16541" y="8503"/>
                    </a:cubicBezTo>
                    <a:cubicBezTo>
                      <a:pt x="16994" y="8005"/>
                      <a:pt x="17108" y="7289"/>
                      <a:pt x="16837" y="6673"/>
                    </a:cubicBezTo>
                    <a:cubicBezTo>
                      <a:pt x="16565" y="6060"/>
                      <a:pt x="15958" y="5661"/>
                      <a:pt x="15285" y="5661"/>
                    </a:cubicBezTo>
                    <a:lnTo>
                      <a:pt x="10635" y="5661"/>
                    </a:lnTo>
                    <a:cubicBezTo>
                      <a:pt x="11109" y="4577"/>
                      <a:pt x="11323" y="3104"/>
                      <a:pt x="11323" y="2364"/>
                    </a:cubicBezTo>
                    <a:cubicBezTo>
                      <a:pt x="11320" y="1060"/>
                      <a:pt x="10263" y="3"/>
                      <a:pt x="8959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68575" rIns="68575" bIns="68575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Roboto"/>
                  <a:buNone/>
                </a:pPr>
                <a:endParaRPr>
                  <a:solidFill>
                    <a:srgbClr val="435D74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endParaRPr>
              </a:p>
            </p:txBody>
          </p:sp>
          <p:sp>
            <p:nvSpPr>
              <p:cNvPr id="89" name="Google Shape;168;p18">
                <a:extLst>
                  <a:ext uri="{FF2B5EF4-FFF2-40B4-BE49-F238E27FC236}">
                    <a16:creationId xmlns:a16="http://schemas.microsoft.com/office/drawing/2014/main" id="{1C88A9D9-6EFA-FFE3-00AB-1251B1DB81CD}"/>
                  </a:ext>
                </a:extLst>
              </p:cNvPr>
              <p:cNvSpPr/>
              <p:nvPr/>
            </p:nvSpPr>
            <p:spPr>
              <a:xfrm>
                <a:off x="3467650" y="238575"/>
                <a:ext cx="46525" cy="56650"/>
              </a:xfrm>
              <a:custGeom>
                <a:avLst/>
                <a:gdLst/>
                <a:ahLst/>
                <a:cxnLst/>
                <a:rect l="l" t="t" r="r" b="b"/>
                <a:pathLst>
                  <a:path w="1861" h="2266" extrusionOk="0">
                    <a:moveTo>
                      <a:pt x="646" y="1"/>
                    </a:moveTo>
                    <a:cubicBezTo>
                      <a:pt x="561" y="1"/>
                      <a:pt x="475" y="20"/>
                      <a:pt x="393" y="61"/>
                    </a:cubicBezTo>
                    <a:cubicBezTo>
                      <a:pt x="112" y="199"/>
                      <a:pt x="0" y="541"/>
                      <a:pt x="139" y="821"/>
                    </a:cubicBezTo>
                    <a:lnTo>
                      <a:pt x="707" y="1954"/>
                    </a:lnTo>
                    <a:cubicBezTo>
                      <a:pt x="805" y="2150"/>
                      <a:pt x="1005" y="2265"/>
                      <a:pt x="1212" y="2265"/>
                    </a:cubicBezTo>
                    <a:cubicBezTo>
                      <a:pt x="1297" y="2265"/>
                      <a:pt x="1384" y="2246"/>
                      <a:pt x="1465" y="2204"/>
                    </a:cubicBezTo>
                    <a:cubicBezTo>
                      <a:pt x="1746" y="2065"/>
                      <a:pt x="1860" y="1727"/>
                      <a:pt x="1718" y="1446"/>
                    </a:cubicBezTo>
                    <a:lnTo>
                      <a:pt x="1154" y="314"/>
                    </a:lnTo>
                    <a:cubicBezTo>
                      <a:pt x="1053" y="115"/>
                      <a:pt x="854" y="1"/>
                      <a:pt x="646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68575" rIns="68575" bIns="68575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Roboto"/>
                  <a:buNone/>
                </a:pPr>
                <a:endParaRPr>
                  <a:solidFill>
                    <a:srgbClr val="435D74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endParaRPr>
              </a:p>
            </p:txBody>
          </p:sp>
          <p:sp>
            <p:nvSpPr>
              <p:cNvPr id="90" name="Google Shape;169;p18">
                <a:extLst>
                  <a:ext uri="{FF2B5EF4-FFF2-40B4-BE49-F238E27FC236}">
                    <a16:creationId xmlns:a16="http://schemas.microsoft.com/office/drawing/2014/main" id="{56CCFDE5-4B27-4CA7-0CDD-490F4C7BEDC8}"/>
                  </a:ext>
                </a:extLst>
              </p:cNvPr>
              <p:cNvSpPr/>
              <p:nvPr/>
            </p:nvSpPr>
            <p:spPr>
              <a:xfrm>
                <a:off x="3566675" y="238575"/>
                <a:ext cx="46525" cy="56675"/>
              </a:xfrm>
              <a:custGeom>
                <a:avLst/>
                <a:gdLst/>
                <a:ahLst/>
                <a:cxnLst/>
                <a:rect l="l" t="t" r="r" b="b"/>
                <a:pathLst>
                  <a:path w="1861" h="2267" extrusionOk="0">
                    <a:moveTo>
                      <a:pt x="1215" y="1"/>
                    </a:moveTo>
                    <a:cubicBezTo>
                      <a:pt x="1007" y="1"/>
                      <a:pt x="808" y="115"/>
                      <a:pt x="707" y="314"/>
                    </a:cubicBezTo>
                    <a:lnTo>
                      <a:pt x="143" y="1446"/>
                    </a:lnTo>
                    <a:cubicBezTo>
                      <a:pt x="1" y="1727"/>
                      <a:pt x="116" y="2065"/>
                      <a:pt x="396" y="2207"/>
                    </a:cubicBezTo>
                    <a:cubicBezTo>
                      <a:pt x="477" y="2247"/>
                      <a:pt x="562" y="2266"/>
                      <a:pt x="646" y="2266"/>
                    </a:cubicBezTo>
                    <a:cubicBezTo>
                      <a:pt x="854" y="2266"/>
                      <a:pt x="1055" y="2151"/>
                      <a:pt x="1154" y="1954"/>
                    </a:cubicBezTo>
                    <a:lnTo>
                      <a:pt x="1722" y="821"/>
                    </a:lnTo>
                    <a:cubicBezTo>
                      <a:pt x="1861" y="541"/>
                      <a:pt x="1749" y="199"/>
                      <a:pt x="1468" y="61"/>
                    </a:cubicBezTo>
                    <a:cubicBezTo>
                      <a:pt x="1387" y="20"/>
                      <a:pt x="1300" y="1"/>
                      <a:pt x="1215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68575" rIns="68575" bIns="68575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Roboto"/>
                  <a:buNone/>
                </a:pPr>
                <a:endParaRPr>
                  <a:solidFill>
                    <a:srgbClr val="435D74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endParaRPr>
              </a:p>
            </p:txBody>
          </p:sp>
          <p:sp>
            <p:nvSpPr>
              <p:cNvPr id="91" name="Google Shape;170;p18">
                <a:extLst>
                  <a:ext uri="{FF2B5EF4-FFF2-40B4-BE49-F238E27FC236}">
                    <a16:creationId xmlns:a16="http://schemas.microsoft.com/office/drawing/2014/main" id="{E892246F-0CD4-91D7-5713-64DA8BFB7A9A}"/>
                  </a:ext>
                </a:extLst>
              </p:cNvPr>
              <p:cNvSpPr/>
              <p:nvPr/>
            </p:nvSpPr>
            <p:spPr>
              <a:xfrm>
                <a:off x="3611225" y="323500"/>
                <a:ext cx="56550" cy="28325"/>
              </a:xfrm>
              <a:custGeom>
                <a:avLst/>
                <a:gdLst/>
                <a:ahLst/>
                <a:cxnLst/>
                <a:rect l="l" t="t" r="r" b="b"/>
                <a:pathLst>
                  <a:path w="2262" h="1133" extrusionOk="0">
                    <a:moveTo>
                      <a:pt x="565" y="0"/>
                    </a:moveTo>
                    <a:cubicBezTo>
                      <a:pt x="251" y="0"/>
                      <a:pt x="0" y="254"/>
                      <a:pt x="0" y="568"/>
                    </a:cubicBezTo>
                    <a:cubicBezTo>
                      <a:pt x="0" y="879"/>
                      <a:pt x="251" y="1132"/>
                      <a:pt x="565" y="1132"/>
                    </a:cubicBezTo>
                    <a:lnTo>
                      <a:pt x="1697" y="1132"/>
                    </a:lnTo>
                    <a:cubicBezTo>
                      <a:pt x="2011" y="1132"/>
                      <a:pt x="2262" y="879"/>
                      <a:pt x="2262" y="568"/>
                    </a:cubicBezTo>
                    <a:cubicBezTo>
                      <a:pt x="2262" y="254"/>
                      <a:pt x="2011" y="0"/>
                      <a:pt x="1697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68575" rIns="68575" bIns="68575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Roboto"/>
                  <a:buNone/>
                </a:pPr>
                <a:endParaRPr>
                  <a:solidFill>
                    <a:srgbClr val="435D74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endParaRPr>
              </a:p>
            </p:txBody>
          </p:sp>
          <p:sp>
            <p:nvSpPr>
              <p:cNvPr id="92" name="Google Shape;171;p18">
                <a:extLst>
                  <a:ext uri="{FF2B5EF4-FFF2-40B4-BE49-F238E27FC236}">
                    <a16:creationId xmlns:a16="http://schemas.microsoft.com/office/drawing/2014/main" id="{E46EB627-B86B-A484-A9D5-46F9A04D4D19}"/>
                  </a:ext>
                </a:extLst>
              </p:cNvPr>
              <p:cNvSpPr/>
              <p:nvPr/>
            </p:nvSpPr>
            <p:spPr>
              <a:xfrm>
                <a:off x="3413075" y="323500"/>
                <a:ext cx="56550" cy="28325"/>
              </a:xfrm>
              <a:custGeom>
                <a:avLst/>
                <a:gdLst/>
                <a:ahLst/>
                <a:cxnLst/>
                <a:rect l="l" t="t" r="r" b="b"/>
                <a:pathLst>
                  <a:path w="2262" h="1133" extrusionOk="0">
                    <a:moveTo>
                      <a:pt x="565" y="0"/>
                    </a:moveTo>
                    <a:cubicBezTo>
                      <a:pt x="251" y="0"/>
                      <a:pt x="0" y="254"/>
                      <a:pt x="0" y="568"/>
                    </a:cubicBezTo>
                    <a:cubicBezTo>
                      <a:pt x="0" y="879"/>
                      <a:pt x="251" y="1132"/>
                      <a:pt x="565" y="1132"/>
                    </a:cubicBezTo>
                    <a:lnTo>
                      <a:pt x="1697" y="1132"/>
                    </a:lnTo>
                    <a:cubicBezTo>
                      <a:pt x="2011" y="1132"/>
                      <a:pt x="2262" y="879"/>
                      <a:pt x="2262" y="568"/>
                    </a:cubicBezTo>
                    <a:cubicBezTo>
                      <a:pt x="2262" y="254"/>
                      <a:pt x="2011" y="0"/>
                      <a:pt x="1697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68575" rIns="68575" bIns="68575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Roboto"/>
                  <a:buNone/>
                </a:pPr>
                <a:endParaRPr>
                  <a:solidFill>
                    <a:srgbClr val="435D74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endParaRPr>
              </a:p>
            </p:txBody>
          </p:sp>
        </p:grpSp>
        <p:grpSp>
          <p:nvGrpSpPr>
            <p:cNvPr id="93" name="Google Shape;172;p18">
              <a:extLst>
                <a:ext uri="{FF2B5EF4-FFF2-40B4-BE49-F238E27FC236}">
                  <a16:creationId xmlns:a16="http://schemas.microsoft.com/office/drawing/2014/main" id="{12D9D340-A8FB-7D0B-0916-24CFBFE16866}"/>
                </a:ext>
              </a:extLst>
            </p:cNvPr>
            <p:cNvGrpSpPr/>
            <p:nvPr/>
          </p:nvGrpSpPr>
          <p:grpSpPr>
            <a:xfrm rot="10800000">
              <a:off x="6300989" y="3529645"/>
              <a:ext cx="551558" cy="615298"/>
              <a:chOff x="3299850" y="238575"/>
              <a:chExt cx="427725" cy="482225"/>
            </a:xfrm>
          </p:grpSpPr>
          <p:sp>
            <p:nvSpPr>
              <p:cNvPr id="94" name="Google Shape;173;p18">
                <a:extLst>
                  <a:ext uri="{FF2B5EF4-FFF2-40B4-BE49-F238E27FC236}">
                    <a16:creationId xmlns:a16="http://schemas.microsoft.com/office/drawing/2014/main" id="{F336C3AD-B071-3D71-79D3-CBACFBC82FDC}"/>
                  </a:ext>
                </a:extLst>
              </p:cNvPr>
              <p:cNvSpPr/>
              <p:nvPr/>
            </p:nvSpPr>
            <p:spPr>
              <a:xfrm>
                <a:off x="3299850" y="323500"/>
                <a:ext cx="427725" cy="397300"/>
              </a:xfrm>
              <a:custGeom>
                <a:avLst/>
                <a:gdLst/>
                <a:ahLst/>
                <a:cxnLst/>
                <a:rect l="l" t="t" r="r" b="b"/>
                <a:pathLst>
                  <a:path w="17109" h="15892" extrusionOk="0">
                    <a:moveTo>
                      <a:pt x="3397" y="6794"/>
                    </a:moveTo>
                    <a:lnTo>
                      <a:pt x="3397" y="14759"/>
                    </a:lnTo>
                    <a:lnTo>
                      <a:pt x="1132" y="14759"/>
                    </a:lnTo>
                    <a:lnTo>
                      <a:pt x="1132" y="6794"/>
                    </a:lnTo>
                    <a:close/>
                    <a:moveTo>
                      <a:pt x="9034" y="1132"/>
                    </a:moveTo>
                    <a:cubicBezTo>
                      <a:pt x="9683" y="1175"/>
                      <a:pt x="10191" y="1712"/>
                      <a:pt x="10191" y="2364"/>
                    </a:cubicBezTo>
                    <a:cubicBezTo>
                      <a:pt x="10191" y="3346"/>
                      <a:pt x="9774" y="5275"/>
                      <a:pt x="9221" y="5828"/>
                    </a:cubicBezTo>
                    <a:cubicBezTo>
                      <a:pt x="8865" y="6184"/>
                      <a:pt x="9119" y="6794"/>
                      <a:pt x="9623" y="6794"/>
                    </a:cubicBezTo>
                    <a:lnTo>
                      <a:pt x="15285" y="6794"/>
                    </a:lnTo>
                    <a:cubicBezTo>
                      <a:pt x="15599" y="6794"/>
                      <a:pt x="15849" y="7047"/>
                      <a:pt x="15849" y="7361"/>
                    </a:cubicBezTo>
                    <a:cubicBezTo>
                      <a:pt x="15849" y="7672"/>
                      <a:pt x="15599" y="7926"/>
                      <a:pt x="15285" y="7926"/>
                    </a:cubicBezTo>
                    <a:lnTo>
                      <a:pt x="11888" y="7926"/>
                    </a:lnTo>
                    <a:cubicBezTo>
                      <a:pt x="11574" y="7926"/>
                      <a:pt x="11323" y="8180"/>
                      <a:pt x="11323" y="8494"/>
                    </a:cubicBezTo>
                    <a:cubicBezTo>
                      <a:pt x="11323" y="8805"/>
                      <a:pt x="11574" y="9058"/>
                      <a:pt x="11888" y="9058"/>
                    </a:cubicBezTo>
                    <a:lnTo>
                      <a:pt x="15285" y="9058"/>
                    </a:lnTo>
                    <a:cubicBezTo>
                      <a:pt x="15586" y="9058"/>
                      <a:pt x="15852" y="9342"/>
                      <a:pt x="15852" y="9662"/>
                    </a:cubicBezTo>
                    <a:cubicBezTo>
                      <a:pt x="15852" y="9976"/>
                      <a:pt x="15599" y="10230"/>
                      <a:pt x="15285" y="10230"/>
                    </a:cubicBezTo>
                    <a:lnTo>
                      <a:pt x="11888" y="10230"/>
                    </a:lnTo>
                    <a:cubicBezTo>
                      <a:pt x="11574" y="10230"/>
                      <a:pt x="11323" y="10484"/>
                      <a:pt x="11323" y="10795"/>
                    </a:cubicBezTo>
                    <a:cubicBezTo>
                      <a:pt x="11323" y="11109"/>
                      <a:pt x="11574" y="11362"/>
                      <a:pt x="11888" y="11362"/>
                    </a:cubicBezTo>
                    <a:lnTo>
                      <a:pt x="14152" y="11362"/>
                    </a:lnTo>
                    <a:cubicBezTo>
                      <a:pt x="14466" y="11362"/>
                      <a:pt x="14717" y="11616"/>
                      <a:pt x="14717" y="11927"/>
                    </a:cubicBezTo>
                    <a:cubicBezTo>
                      <a:pt x="14717" y="12241"/>
                      <a:pt x="14466" y="12494"/>
                      <a:pt x="14152" y="12494"/>
                    </a:cubicBezTo>
                    <a:lnTo>
                      <a:pt x="11888" y="12494"/>
                    </a:lnTo>
                    <a:cubicBezTo>
                      <a:pt x="11574" y="12494"/>
                      <a:pt x="11323" y="12748"/>
                      <a:pt x="11323" y="13059"/>
                    </a:cubicBezTo>
                    <a:cubicBezTo>
                      <a:pt x="11323" y="13373"/>
                      <a:pt x="11574" y="13627"/>
                      <a:pt x="11888" y="13627"/>
                    </a:cubicBezTo>
                    <a:lnTo>
                      <a:pt x="13020" y="13627"/>
                    </a:lnTo>
                    <a:cubicBezTo>
                      <a:pt x="13334" y="13627"/>
                      <a:pt x="13585" y="13880"/>
                      <a:pt x="13585" y="14191"/>
                    </a:cubicBezTo>
                    <a:cubicBezTo>
                      <a:pt x="13585" y="14505"/>
                      <a:pt x="13334" y="14759"/>
                      <a:pt x="13020" y="14759"/>
                    </a:cubicBezTo>
                    <a:lnTo>
                      <a:pt x="9197" y="14759"/>
                    </a:lnTo>
                    <a:cubicBezTo>
                      <a:pt x="8041" y="14759"/>
                      <a:pt x="6890" y="14572"/>
                      <a:pt x="5794" y="14207"/>
                    </a:cubicBezTo>
                    <a:lnTo>
                      <a:pt x="4529" y="13784"/>
                    </a:lnTo>
                    <a:lnTo>
                      <a:pt x="4529" y="7712"/>
                    </a:lnTo>
                    <a:lnTo>
                      <a:pt x="5686" y="7132"/>
                    </a:lnTo>
                    <a:cubicBezTo>
                      <a:pt x="6265" y="6842"/>
                      <a:pt x="6797" y="6459"/>
                      <a:pt x="7253" y="6003"/>
                    </a:cubicBezTo>
                    <a:lnTo>
                      <a:pt x="7289" y="5963"/>
                    </a:lnTo>
                    <a:cubicBezTo>
                      <a:pt x="8352" y="4901"/>
                      <a:pt x="8917" y="2654"/>
                      <a:pt x="9034" y="1132"/>
                    </a:cubicBezTo>
                    <a:close/>
                    <a:moveTo>
                      <a:pt x="8491" y="0"/>
                    </a:moveTo>
                    <a:cubicBezTo>
                      <a:pt x="8177" y="0"/>
                      <a:pt x="7926" y="254"/>
                      <a:pt x="7926" y="568"/>
                    </a:cubicBezTo>
                    <a:cubicBezTo>
                      <a:pt x="7926" y="1887"/>
                      <a:pt x="7380" y="4276"/>
                      <a:pt x="6492" y="5166"/>
                    </a:cubicBezTo>
                    <a:lnTo>
                      <a:pt x="6456" y="5203"/>
                    </a:lnTo>
                    <a:cubicBezTo>
                      <a:pt x="6081" y="5574"/>
                      <a:pt x="5652" y="5885"/>
                      <a:pt x="5181" y="6120"/>
                    </a:cubicBezTo>
                    <a:lnTo>
                      <a:pt x="4529" y="6444"/>
                    </a:lnTo>
                    <a:lnTo>
                      <a:pt x="4529" y="6229"/>
                    </a:lnTo>
                    <a:cubicBezTo>
                      <a:pt x="4529" y="5915"/>
                      <a:pt x="4276" y="5661"/>
                      <a:pt x="3962" y="5661"/>
                    </a:cubicBezTo>
                    <a:lnTo>
                      <a:pt x="565" y="5661"/>
                    </a:lnTo>
                    <a:cubicBezTo>
                      <a:pt x="251" y="5661"/>
                      <a:pt x="0" y="5915"/>
                      <a:pt x="0" y="6229"/>
                    </a:cubicBezTo>
                    <a:lnTo>
                      <a:pt x="0" y="15324"/>
                    </a:lnTo>
                    <a:cubicBezTo>
                      <a:pt x="0" y="15638"/>
                      <a:pt x="251" y="15891"/>
                      <a:pt x="565" y="15891"/>
                    </a:cubicBezTo>
                    <a:lnTo>
                      <a:pt x="3962" y="15891"/>
                    </a:lnTo>
                    <a:cubicBezTo>
                      <a:pt x="4276" y="15891"/>
                      <a:pt x="4529" y="15638"/>
                      <a:pt x="4529" y="15324"/>
                    </a:cubicBezTo>
                    <a:lnTo>
                      <a:pt x="4529" y="14976"/>
                    </a:lnTo>
                    <a:lnTo>
                      <a:pt x="5435" y="15278"/>
                    </a:lnTo>
                    <a:cubicBezTo>
                      <a:pt x="6649" y="15683"/>
                      <a:pt x="7917" y="15888"/>
                      <a:pt x="9197" y="15888"/>
                    </a:cubicBezTo>
                    <a:lnTo>
                      <a:pt x="13020" y="15888"/>
                    </a:lnTo>
                    <a:cubicBezTo>
                      <a:pt x="14219" y="15888"/>
                      <a:pt x="15040" y="14681"/>
                      <a:pt x="14599" y="13566"/>
                    </a:cubicBezTo>
                    <a:cubicBezTo>
                      <a:pt x="15577" y="13298"/>
                      <a:pt x="16106" y="12241"/>
                      <a:pt x="15731" y="11302"/>
                    </a:cubicBezTo>
                    <a:cubicBezTo>
                      <a:pt x="16468" y="11100"/>
                      <a:pt x="16981" y="10429"/>
                      <a:pt x="16984" y="9662"/>
                    </a:cubicBezTo>
                    <a:cubicBezTo>
                      <a:pt x="16981" y="9233"/>
                      <a:pt x="16824" y="8823"/>
                      <a:pt x="16541" y="8503"/>
                    </a:cubicBezTo>
                    <a:cubicBezTo>
                      <a:pt x="16994" y="8005"/>
                      <a:pt x="17108" y="7289"/>
                      <a:pt x="16837" y="6673"/>
                    </a:cubicBezTo>
                    <a:cubicBezTo>
                      <a:pt x="16565" y="6060"/>
                      <a:pt x="15958" y="5661"/>
                      <a:pt x="15285" y="5661"/>
                    </a:cubicBezTo>
                    <a:lnTo>
                      <a:pt x="10635" y="5661"/>
                    </a:lnTo>
                    <a:cubicBezTo>
                      <a:pt x="11109" y="4577"/>
                      <a:pt x="11323" y="3104"/>
                      <a:pt x="11323" y="2364"/>
                    </a:cubicBezTo>
                    <a:cubicBezTo>
                      <a:pt x="11320" y="1060"/>
                      <a:pt x="10263" y="3"/>
                      <a:pt x="8959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68575" rIns="68575" bIns="68575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Roboto"/>
                  <a:buNone/>
                </a:pPr>
                <a:endParaRPr>
                  <a:solidFill>
                    <a:srgbClr val="435D74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endParaRPr>
              </a:p>
            </p:txBody>
          </p:sp>
          <p:sp>
            <p:nvSpPr>
              <p:cNvPr id="95" name="Google Shape;174;p18">
                <a:extLst>
                  <a:ext uri="{FF2B5EF4-FFF2-40B4-BE49-F238E27FC236}">
                    <a16:creationId xmlns:a16="http://schemas.microsoft.com/office/drawing/2014/main" id="{FCA1510D-DDA1-2599-F1E8-2875AB952250}"/>
                  </a:ext>
                </a:extLst>
              </p:cNvPr>
              <p:cNvSpPr/>
              <p:nvPr/>
            </p:nvSpPr>
            <p:spPr>
              <a:xfrm>
                <a:off x="3467650" y="238575"/>
                <a:ext cx="46525" cy="56650"/>
              </a:xfrm>
              <a:custGeom>
                <a:avLst/>
                <a:gdLst/>
                <a:ahLst/>
                <a:cxnLst/>
                <a:rect l="l" t="t" r="r" b="b"/>
                <a:pathLst>
                  <a:path w="1861" h="2266" extrusionOk="0">
                    <a:moveTo>
                      <a:pt x="646" y="1"/>
                    </a:moveTo>
                    <a:cubicBezTo>
                      <a:pt x="561" y="1"/>
                      <a:pt x="475" y="20"/>
                      <a:pt x="393" y="61"/>
                    </a:cubicBezTo>
                    <a:cubicBezTo>
                      <a:pt x="112" y="199"/>
                      <a:pt x="0" y="541"/>
                      <a:pt x="139" y="821"/>
                    </a:cubicBezTo>
                    <a:lnTo>
                      <a:pt x="707" y="1954"/>
                    </a:lnTo>
                    <a:cubicBezTo>
                      <a:pt x="805" y="2150"/>
                      <a:pt x="1005" y="2265"/>
                      <a:pt x="1212" y="2265"/>
                    </a:cubicBezTo>
                    <a:cubicBezTo>
                      <a:pt x="1297" y="2265"/>
                      <a:pt x="1384" y="2246"/>
                      <a:pt x="1465" y="2204"/>
                    </a:cubicBezTo>
                    <a:cubicBezTo>
                      <a:pt x="1746" y="2065"/>
                      <a:pt x="1860" y="1727"/>
                      <a:pt x="1718" y="1446"/>
                    </a:cubicBezTo>
                    <a:lnTo>
                      <a:pt x="1154" y="314"/>
                    </a:lnTo>
                    <a:cubicBezTo>
                      <a:pt x="1053" y="115"/>
                      <a:pt x="854" y="1"/>
                      <a:pt x="646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68575" rIns="68575" bIns="68575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Roboto"/>
                  <a:buNone/>
                </a:pPr>
                <a:endParaRPr>
                  <a:solidFill>
                    <a:srgbClr val="435D74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endParaRPr>
              </a:p>
            </p:txBody>
          </p:sp>
          <p:sp>
            <p:nvSpPr>
              <p:cNvPr id="96" name="Google Shape;175;p18">
                <a:extLst>
                  <a:ext uri="{FF2B5EF4-FFF2-40B4-BE49-F238E27FC236}">
                    <a16:creationId xmlns:a16="http://schemas.microsoft.com/office/drawing/2014/main" id="{477AD505-1247-3C1D-75EC-6E04FF06A5FF}"/>
                  </a:ext>
                </a:extLst>
              </p:cNvPr>
              <p:cNvSpPr/>
              <p:nvPr/>
            </p:nvSpPr>
            <p:spPr>
              <a:xfrm>
                <a:off x="3566675" y="238575"/>
                <a:ext cx="46525" cy="56675"/>
              </a:xfrm>
              <a:custGeom>
                <a:avLst/>
                <a:gdLst/>
                <a:ahLst/>
                <a:cxnLst/>
                <a:rect l="l" t="t" r="r" b="b"/>
                <a:pathLst>
                  <a:path w="1861" h="2267" extrusionOk="0">
                    <a:moveTo>
                      <a:pt x="1215" y="1"/>
                    </a:moveTo>
                    <a:cubicBezTo>
                      <a:pt x="1007" y="1"/>
                      <a:pt x="808" y="115"/>
                      <a:pt x="707" y="314"/>
                    </a:cubicBezTo>
                    <a:lnTo>
                      <a:pt x="143" y="1446"/>
                    </a:lnTo>
                    <a:cubicBezTo>
                      <a:pt x="1" y="1727"/>
                      <a:pt x="116" y="2065"/>
                      <a:pt x="396" y="2207"/>
                    </a:cubicBezTo>
                    <a:cubicBezTo>
                      <a:pt x="477" y="2247"/>
                      <a:pt x="562" y="2266"/>
                      <a:pt x="646" y="2266"/>
                    </a:cubicBezTo>
                    <a:cubicBezTo>
                      <a:pt x="854" y="2266"/>
                      <a:pt x="1055" y="2151"/>
                      <a:pt x="1154" y="1954"/>
                    </a:cubicBezTo>
                    <a:lnTo>
                      <a:pt x="1722" y="821"/>
                    </a:lnTo>
                    <a:cubicBezTo>
                      <a:pt x="1861" y="541"/>
                      <a:pt x="1749" y="199"/>
                      <a:pt x="1468" y="61"/>
                    </a:cubicBezTo>
                    <a:cubicBezTo>
                      <a:pt x="1387" y="20"/>
                      <a:pt x="1300" y="1"/>
                      <a:pt x="1215" y="1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68575" rIns="68575" bIns="68575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Roboto"/>
                  <a:buNone/>
                </a:pPr>
                <a:endParaRPr>
                  <a:solidFill>
                    <a:srgbClr val="435D74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endParaRPr>
              </a:p>
            </p:txBody>
          </p:sp>
          <p:sp>
            <p:nvSpPr>
              <p:cNvPr id="97" name="Google Shape;176;p18">
                <a:extLst>
                  <a:ext uri="{FF2B5EF4-FFF2-40B4-BE49-F238E27FC236}">
                    <a16:creationId xmlns:a16="http://schemas.microsoft.com/office/drawing/2014/main" id="{F07ECBD2-58E6-5028-697D-FEDA5B81F44C}"/>
                  </a:ext>
                </a:extLst>
              </p:cNvPr>
              <p:cNvSpPr/>
              <p:nvPr/>
            </p:nvSpPr>
            <p:spPr>
              <a:xfrm>
                <a:off x="3611225" y="323500"/>
                <a:ext cx="56550" cy="28325"/>
              </a:xfrm>
              <a:custGeom>
                <a:avLst/>
                <a:gdLst/>
                <a:ahLst/>
                <a:cxnLst/>
                <a:rect l="l" t="t" r="r" b="b"/>
                <a:pathLst>
                  <a:path w="2262" h="1133" extrusionOk="0">
                    <a:moveTo>
                      <a:pt x="565" y="0"/>
                    </a:moveTo>
                    <a:cubicBezTo>
                      <a:pt x="251" y="0"/>
                      <a:pt x="0" y="254"/>
                      <a:pt x="0" y="568"/>
                    </a:cubicBezTo>
                    <a:cubicBezTo>
                      <a:pt x="0" y="879"/>
                      <a:pt x="251" y="1132"/>
                      <a:pt x="565" y="1132"/>
                    </a:cubicBezTo>
                    <a:lnTo>
                      <a:pt x="1697" y="1132"/>
                    </a:lnTo>
                    <a:cubicBezTo>
                      <a:pt x="2011" y="1132"/>
                      <a:pt x="2262" y="879"/>
                      <a:pt x="2262" y="568"/>
                    </a:cubicBezTo>
                    <a:cubicBezTo>
                      <a:pt x="2262" y="254"/>
                      <a:pt x="2011" y="0"/>
                      <a:pt x="1697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68575" rIns="68575" bIns="68575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Roboto"/>
                  <a:buNone/>
                </a:pPr>
                <a:endParaRPr>
                  <a:solidFill>
                    <a:srgbClr val="435D74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endParaRPr>
              </a:p>
            </p:txBody>
          </p:sp>
          <p:sp>
            <p:nvSpPr>
              <p:cNvPr id="98" name="Google Shape;177;p18">
                <a:extLst>
                  <a:ext uri="{FF2B5EF4-FFF2-40B4-BE49-F238E27FC236}">
                    <a16:creationId xmlns:a16="http://schemas.microsoft.com/office/drawing/2014/main" id="{84FDE4D1-AD62-C80D-83BC-C682922070D5}"/>
                  </a:ext>
                </a:extLst>
              </p:cNvPr>
              <p:cNvSpPr/>
              <p:nvPr/>
            </p:nvSpPr>
            <p:spPr>
              <a:xfrm>
                <a:off x="3413075" y="323500"/>
                <a:ext cx="56550" cy="28325"/>
              </a:xfrm>
              <a:custGeom>
                <a:avLst/>
                <a:gdLst/>
                <a:ahLst/>
                <a:cxnLst/>
                <a:rect l="l" t="t" r="r" b="b"/>
                <a:pathLst>
                  <a:path w="2262" h="1133" extrusionOk="0">
                    <a:moveTo>
                      <a:pt x="565" y="0"/>
                    </a:moveTo>
                    <a:cubicBezTo>
                      <a:pt x="251" y="0"/>
                      <a:pt x="0" y="254"/>
                      <a:pt x="0" y="568"/>
                    </a:cubicBezTo>
                    <a:cubicBezTo>
                      <a:pt x="0" y="879"/>
                      <a:pt x="251" y="1132"/>
                      <a:pt x="565" y="1132"/>
                    </a:cubicBezTo>
                    <a:lnTo>
                      <a:pt x="1697" y="1132"/>
                    </a:lnTo>
                    <a:cubicBezTo>
                      <a:pt x="2011" y="1132"/>
                      <a:pt x="2262" y="879"/>
                      <a:pt x="2262" y="568"/>
                    </a:cubicBezTo>
                    <a:cubicBezTo>
                      <a:pt x="2262" y="254"/>
                      <a:pt x="2011" y="0"/>
                      <a:pt x="1697" y="0"/>
                    </a:cubicBezTo>
                    <a:close/>
                  </a:path>
                </a:pathLst>
              </a:custGeom>
              <a:solidFill>
                <a:schemeClr val="lt1"/>
              </a:solidFill>
              <a:ln>
                <a:noFill/>
              </a:ln>
            </p:spPr>
            <p:txBody>
              <a:bodyPr spcFirstLastPara="1" wrap="square" lIns="68575" tIns="68575" rIns="68575" bIns="68575" anchor="ctr" anchorCtr="0">
                <a:noAutofit/>
              </a:bodyPr>
              <a:lstStyle/>
              <a:p>
                <a:pPr marL="0" marR="0" lvl="0" indent="0" algn="l" rtl="0">
                  <a:spcBef>
                    <a:spcPts val="0"/>
                  </a:spcBef>
                  <a:spcAft>
                    <a:spcPts val="0"/>
                  </a:spcAft>
                  <a:buClr>
                    <a:schemeClr val="dk1"/>
                  </a:buClr>
                  <a:buSzPts val="1400"/>
                  <a:buFont typeface="Roboto"/>
                  <a:buNone/>
                </a:pPr>
                <a:endParaRPr>
                  <a:solidFill>
                    <a:srgbClr val="435D74"/>
                  </a:solidFill>
                  <a:latin typeface="Arial" panose="020B0604020202020204" pitchFamily="34" charset="0"/>
                  <a:ea typeface="Roboto"/>
                  <a:cs typeface="Arial" panose="020B0604020202020204" pitchFamily="34" charset="0"/>
                  <a:sym typeface="Roboto"/>
                </a:endParaRPr>
              </a:p>
            </p:txBody>
          </p:sp>
        </p:grpSp>
        <p:sp>
          <p:nvSpPr>
            <p:cNvPr id="103" name="Google Shape;158;p18">
              <a:extLst>
                <a:ext uri="{FF2B5EF4-FFF2-40B4-BE49-F238E27FC236}">
                  <a16:creationId xmlns:a16="http://schemas.microsoft.com/office/drawing/2014/main" id="{31CE31EC-8639-DB8E-D83B-A1E0F283954D}"/>
                </a:ext>
              </a:extLst>
            </p:cNvPr>
            <p:cNvSpPr txBox="1"/>
            <p:nvPr/>
          </p:nvSpPr>
          <p:spPr>
            <a:xfrm>
              <a:off x="6261779" y="4227280"/>
              <a:ext cx="629981" cy="369332"/>
            </a:xfrm>
            <a:prstGeom prst="rect">
              <a:avLst/>
            </a:prstGeom>
            <a:noFill/>
            <a:ln>
              <a:noFill/>
            </a:ln>
          </p:spPr>
          <p:txBody>
            <a:bodyPr spcFirstLastPara="1" wrap="none" lIns="0" tIns="0" rIns="0" bIns="0" anchor="t" anchorCtr="0">
              <a:noAutofit/>
            </a:bodyPr>
            <a:lstStyle/>
            <a:p>
              <a:pPr marL="0" marR="0" lvl="0" indent="0" algn="ctr" rtl="0">
                <a:lnSpc>
                  <a:spcPct val="150000"/>
                </a:lnSpc>
                <a:spcBef>
                  <a:spcPts val="0"/>
                </a:spcBef>
                <a:spcAft>
                  <a:spcPts val="0"/>
                </a:spcAft>
                <a:buNone/>
              </a:pPr>
              <a:r>
                <a:rPr lang="en-IN" b="1" dirty="0">
                  <a:solidFill>
                    <a:schemeClr val="bg1"/>
                  </a:solidFill>
                  <a:latin typeface="Arial" panose="020B0604020202020204" pitchFamily="34" charset="0"/>
                  <a:ea typeface="Ubuntu"/>
                  <a:cs typeface="Arial" panose="020B0604020202020204" pitchFamily="34" charset="0"/>
                  <a:sym typeface="Ubuntu"/>
                </a:rPr>
                <a:t>Cons</a:t>
              </a:r>
              <a:endParaRPr lang="en-IN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</p:grpSp>
      <p:sp>
        <p:nvSpPr>
          <p:cNvPr id="105" name="Google Shape;164;p18">
            <a:extLst>
              <a:ext uri="{FF2B5EF4-FFF2-40B4-BE49-F238E27FC236}">
                <a16:creationId xmlns:a16="http://schemas.microsoft.com/office/drawing/2014/main" id="{220F6294-FDAC-D513-1DED-B15589A3219E}"/>
              </a:ext>
            </a:extLst>
          </p:cNvPr>
          <p:cNvSpPr txBox="1"/>
          <p:nvPr/>
        </p:nvSpPr>
        <p:spPr>
          <a:xfrm>
            <a:off x="7490208" y="2012444"/>
            <a:ext cx="2086020" cy="415498"/>
          </a:xfrm>
          <a:prstGeom prst="rect">
            <a:avLst/>
          </a:prstGeom>
          <a:noFill/>
          <a:ln>
            <a:noFill/>
          </a:ln>
        </p:spPr>
        <p:txBody>
          <a:bodyPr spcFirstLastPara="1" wrap="none" lIns="0" tIns="0" rIns="0" bIns="0" anchor="t" anchorCtr="0">
            <a:spAutoFit/>
          </a:bodyPr>
          <a:lstStyle/>
          <a:p>
            <a:pPr marL="0" marR="0" lvl="0" indent="0" algn="l" rtl="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None/>
            </a:pPr>
            <a:r>
              <a:rPr lang="en-US" b="0" i="0" dirty="0">
                <a:solidFill>
                  <a:srgbClr val="262626"/>
                </a:solidFill>
                <a:latin typeface="Arial" panose="020B0604020202020204" pitchFamily="34" charset="0"/>
                <a:ea typeface="Roboto"/>
                <a:cs typeface="Arial" panose="020B0604020202020204" pitchFamily="34" charset="0"/>
                <a:sym typeface="Roboto"/>
              </a:rPr>
              <a:t>May reduce liquidity.</a:t>
            </a:r>
          </a:p>
        </p:txBody>
      </p:sp>
      <p:pic>
        <p:nvPicPr>
          <p:cNvPr id="107" name="Graphic 106">
            <a:extLst>
              <a:ext uri="{FF2B5EF4-FFF2-40B4-BE49-F238E27FC236}">
                <a16:creationId xmlns:a16="http://schemas.microsoft.com/office/drawing/2014/main" id="{D3C2767B-594E-CCB6-55FE-9423E3AEEFC5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838184" y="2068735"/>
            <a:ext cx="373775" cy="373775"/>
          </a:xfrm>
          <a:prstGeom prst="rect">
            <a:avLst/>
          </a:prstGeom>
        </p:spPr>
      </p:pic>
      <p:pic>
        <p:nvPicPr>
          <p:cNvPr id="109" name="Graphic 108">
            <a:extLst>
              <a:ext uri="{FF2B5EF4-FFF2-40B4-BE49-F238E27FC236}">
                <a16:creationId xmlns:a16="http://schemas.microsoft.com/office/drawing/2014/main" id="{55A3950E-5C1F-C9B2-FD16-8542B386E811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7798910" y="3916595"/>
            <a:ext cx="503802" cy="503802"/>
          </a:xfrm>
          <a:prstGeom prst="rect">
            <a:avLst/>
          </a:prstGeom>
        </p:spPr>
      </p:pic>
      <p:pic>
        <p:nvPicPr>
          <p:cNvPr id="111" name="Graphic 110">
            <a:extLst>
              <a:ext uri="{FF2B5EF4-FFF2-40B4-BE49-F238E27FC236}">
                <a16:creationId xmlns:a16="http://schemas.microsoft.com/office/drawing/2014/main" id="{A25755F9-0178-EB5E-A35D-240CAD2400BA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6825822" y="5794937"/>
            <a:ext cx="398498" cy="398498"/>
          </a:xfrm>
          <a:prstGeom prst="rect">
            <a:avLst/>
          </a:prstGeom>
        </p:spPr>
      </p:pic>
      <p:pic>
        <p:nvPicPr>
          <p:cNvPr id="113" name="Graphic 112">
            <a:extLst>
              <a:ext uri="{FF2B5EF4-FFF2-40B4-BE49-F238E27FC236}">
                <a16:creationId xmlns:a16="http://schemas.microsoft.com/office/drawing/2014/main" id="{5337E97B-1428-9582-FE61-5F29CAB164EF}"/>
              </a:ext>
            </a:extLst>
          </p:cNvPr>
          <p:cNvPicPr>
            <a:picLocks noChangeAspect="1"/>
          </p:cNvPicPr>
          <p:nvPr/>
        </p:nvPicPr>
        <p:blipFill>
          <a:blip r:embed="rId12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4248419" y="5809521"/>
            <a:ext cx="369331" cy="369331"/>
          </a:xfrm>
          <a:prstGeom prst="rect">
            <a:avLst/>
          </a:prstGeom>
        </p:spPr>
      </p:pic>
      <p:pic>
        <p:nvPicPr>
          <p:cNvPr id="115" name="Graphic 114">
            <a:extLst>
              <a:ext uri="{FF2B5EF4-FFF2-40B4-BE49-F238E27FC236}">
                <a16:creationId xmlns:a16="http://schemas.microsoft.com/office/drawing/2014/main" id="{E98C19B6-0DE6-873E-8B71-28D5350488B1}"/>
              </a:ext>
            </a:extLst>
          </p:cNvPr>
          <p:cNvPicPr>
            <a:picLocks noChangeAspect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157258" y="3935752"/>
            <a:ext cx="465487" cy="465487"/>
          </a:xfrm>
          <a:prstGeom prst="rect">
            <a:avLst/>
          </a:prstGeom>
        </p:spPr>
      </p:pic>
      <p:pic>
        <p:nvPicPr>
          <p:cNvPr id="119" name="Graphic 118">
            <a:extLst>
              <a:ext uri="{FF2B5EF4-FFF2-40B4-BE49-F238E27FC236}">
                <a16:creationId xmlns:a16="http://schemas.microsoft.com/office/drawing/2014/main" id="{B7A426AF-6DF0-F5DB-68CB-3794A269B94A}"/>
              </a:ext>
            </a:extLst>
          </p:cNvPr>
          <p:cNvPicPr>
            <a:picLocks noChangeAspect="1"/>
          </p:cNvPicPr>
          <p:nvPr/>
        </p:nvPicPr>
        <p:blipFill>
          <a:blip r:embed="rId1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4239177" y="2061714"/>
            <a:ext cx="387816" cy="38781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89137547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3" name="think-cell data - do not delete" hidden="1">
            <a:extLst>
              <a:ext uri="{FF2B5EF4-FFF2-40B4-BE49-F238E27FC236}">
                <a16:creationId xmlns:a16="http://schemas.microsoft.com/office/drawing/2014/main" id="{6277ED48-956D-5679-506F-60DC93EE80DB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3286581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14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0" name="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050" name="Picture 2">
            <a:extLst>
              <a:ext uri="{FF2B5EF4-FFF2-40B4-BE49-F238E27FC236}">
                <a16:creationId xmlns:a16="http://schemas.microsoft.com/office/drawing/2014/main" id="{AC6625C7-7CB1-FBBB-6984-AE7084741965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6548284" y="3176"/>
            <a:ext cx="5643716" cy="685164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1" name="Rectangle 10">
            <a:extLst>
              <a:ext uri="{FF2B5EF4-FFF2-40B4-BE49-F238E27FC236}">
                <a16:creationId xmlns:a16="http://schemas.microsoft.com/office/drawing/2014/main" id="{8AE3F5FA-5B4E-A90C-6838-E682151CE4D2}"/>
              </a:ext>
            </a:extLst>
          </p:cNvPr>
          <p:cNvSpPr/>
          <p:nvPr/>
        </p:nvSpPr>
        <p:spPr>
          <a:xfrm>
            <a:off x="609600" y="736600"/>
            <a:ext cx="5938684" cy="5384800"/>
          </a:xfrm>
          <a:prstGeom prst="rect">
            <a:avLst/>
          </a:prstGeom>
          <a:gradFill>
            <a:gsLst>
              <a:gs pos="19000">
                <a:srgbClr val="6366AB"/>
              </a:gs>
              <a:gs pos="100000">
                <a:srgbClr val="B5317D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Content Placeholder 2">
            <a:extLst>
              <a:ext uri="{FF2B5EF4-FFF2-40B4-BE49-F238E27FC236}">
                <a16:creationId xmlns:a16="http://schemas.microsoft.com/office/drawing/2014/main" id="{38D55171-16AB-1ECC-749D-2A265FA04E6B}"/>
              </a:ext>
            </a:extLst>
          </p:cNvPr>
          <p:cNvSpPr txBox="1">
            <a:spLocks/>
          </p:cNvSpPr>
          <p:nvPr/>
        </p:nvSpPr>
        <p:spPr>
          <a:xfrm>
            <a:off x="1064864" y="1634212"/>
            <a:ext cx="5191812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3600" b="1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ackling Other High-Interest Liabilities First</a:t>
            </a:r>
          </a:p>
        </p:txBody>
      </p:sp>
      <p:sp>
        <p:nvSpPr>
          <p:cNvPr id="6" name="Content Placeholder 2">
            <a:extLst>
              <a:ext uri="{FF2B5EF4-FFF2-40B4-BE49-F238E27FC236}">
                <a16:creationId xmlns:a16="http://schemas.microsoft.com/office/drawing/2014/main" id="{FC8D485E-3B48-6E4C-D9D3-BCB0A20AD652}"/>
              </a:ext>
            </a:extLst>
          </p:cNvPr>
          <p:cNvSpPr txBox="1">
            <a:spLocks/>
          </p:cNvSpPr>
          <p:nvPr/>
        </p:nvSpPr>
        <p:spPr>
          <a:xfrm>
            <a:off x="1064864" y="3093720"/>
            <a:ext cx="5191813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Prioritise paying off high-interest debts like credit cards or personal loans before making mortgage overpayments.</a:t>
            </a:r>
          </a:p>
        </p:txBody>
      </p:sp>
      <p:cxnSp>
        <p:nvCxnSpPr>
          <p:cNvPr id="8" name="Straight Connector 7">
            <a:extLst>
              <a:ext uri="{FF2B5EF4-FFF2-40B4-BE49-F238E27FC236}">
                <a16:creationId xmlns:a16="http://schemas.microsoft.com/office/drawing/2014/main" id="{29111F71-A14C-4910-34F8-E5C4B755E007}"/>
              </a:ext>
            </a:extLst>
          </p:cNvPr>
          <p:cNvCxnSpPr>
            <a:cxnSpLocks/>
          </p:cNvCxnSpPr>
          <p:nvPr/>
        </p:nvCxnSpPr>
        <p:spPr>
          <a:xfrm>
            <a:off x="1064864" y="4381090"/>
            <a:ext cx="5191813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grpSp>
        <p:nvGrpSpPr>
          <p:cNvPr id="12" name="Group 11">
            <a:extLst>
              <a:ext uri="{FF2B5EF4-FFF2-40B4-BE49-F238E27FC236}">
                <a16:creationId xmlns:a16="http://schemas.microsoft.com/office/drawing/2014/main" id="{02C09708-E75B-A3EE-8B5B-723AC285CB4B}"/>
              </a:ext>
            </a:extLst>
          </p:cNvPr>
          <p:cNvGrpSpPr/>
          <p:nvPr/>
        </p:nvGrpSpPr>
        <p:grpSpPr>
          <a:xfrm>
            <a:off x="901208" y="1140626"/>
            <a:ext cx="889065" cy="1518227"/>
            <a:chOff x="1222310" y="1851679"/>
            <a:chExt cx="889065" cy="1518227"/>
          </a:xfrm>
        </p:grpSpPr>
        <p:sp>
          <p:nvSpPr>
            <p:cNvPr id="13" name="Freeform 11">
              <a:extLst>
                <a:ext uri="{FF2B5EF4-FFF2-40B4-BE49-F238E27FC236}">
                  <a16:creationId xmlns:a16="http://schemas.microsoft.com/office/drawing/2014/main" id="{0F4C0859-4ED7-1231-CD6E-D04AF2ED2048}"/>
                </a:ext>
              </a:extLst>
            </p:cNvPr>
            <p:cNvSpPr/>
            <p:nvPr/>
          </p:nvSpPr>
          <p:spPr>
            <a:xfrm>
              <a:off x="1450975" y="1851679"/>
              <a:ext cx="660400" cy="330200"/>
            </a:xfrm>
            <a:custGeom>
              <a:avLst/>
              <a:gdLst>
                <a:gd name="connsiteX0" fmla="*/ 330200 w 660400"/>
                <a:gd name="connsiteY0" fmla="*/ 0 h 330200"/>
                <a:gd name="connsiteX1" fmla="*/ 660400 w 660400"/>
                <a:gd name="connsiteY1" fmla="*/ 330200 h 330200"/>
                <a:gd name="connsiteX2" fmla="*/ 0 w 660400"/>
                <a:gd name="connsiteY2" fmla="*/ 330200 h 330200"/>
                <a:gd name="connsiteX3" fmla="*/ 330200 w 660400"/>
                <a:gd name="connsiteY3" fmla="*/ 0 h 33020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</a:cxnLst>
              <a:rect l="l" t="t" r="r" b="b"/>
              <a:pathLst>
                <a:path w="660400" h="330200">
                  <a:moveTo>
                    <a:pt x="330200" y="0"/>
                  </a:moveTo>
                  <a:cubicBezTo>
                    <a:pt x="512564" y="0"/>
                    <a:pt x="660400" y="147836"/>
                    <a:pt x="660400" y="330200"/>
                  </a:cubicBezTo>
                  <a:lnTo>
                    <a:pt x="0" y="330200"/>
                  </a:lnTo>
                  <a:cubicBezTo>
                    <a:pt x="0" y="147836"/>
                    <a:pt x="147836" y="0"/>
                    <a:pt x="330200" y="0"/>
                  </a:cubicBezTo>
                  <a:close/>
                </a:path>
              </a:pathLst>
            </a:custGeom>
            <a:solidFill>
              <a:schemeClr val="bg1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0" marR="0" lvl="0" indent="0" algn="ct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1800" b="0" i="0" u="none" strike="noStrike" kern="1200" cap="none" spc="0" normalizeH="0" baseline="0" noProof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cs typeface="Arial" panose="020B0604020202020204" pitchFamily="34" charset="0"/>
              </a:endParaRPr>
            </a:p>
          </p:txBody>
        </p:sp>
        <p:cxnSp>
          <p:nvCxnSpPr>
            <p:cNvPr id="14" name="Straight Connector 13">
              <a:extLst>
                <a:ext uri="{FF2B5EF4-FFF2-40B4-BE49-F238E27FC236}">
                  <a16:creationId xmlns:a16="http://schemas.microsoft.com/office/drawing/2014/main" id="{78E47814-6771-8812-156C-4EAFD5E90941}"/>
                </a:ext>
              </a:extLst>
            </p:cNvPr>
            <p:cNvCxnSpPr/>
            <p:nvPr/>
          </p:nvCxnSpPr>
          <p:spPr>
            <a:xfrm>
              <a:off x="1222310" y="2181879"/>
              <a:ext cx="889065" cy="0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5" name="Straight Connector 14">
              <a:extLst>
                <a:ext uri="{FF2B5EF4-FFF2-40B4-BE49-F238E27FC236}">
                  <a16:creationId xmlns:a16="http://schemas.microsoft.com/office/drawing/2014/main" id="{154C54E6-5B9C-9682-E37F-3A7CF10C1899}"/>
                </a:ext>
              </a:extLst>
            </p:cNvPr>
            <p:cNvCxnSpPr/>
            <p:nvPr/>
          </p:nvCxnSpPr>
          <p:spPr>
            <a:xfrm flipV="1">
              <a:off x="1222311" y="2181880"/>
              <a:ext cx="0" cy="1188026"/>
            </a:xfrm>
            <a:prstGeom prst="line">
              <a:avLst/>
            </a:prstGeom>
            <a:ln>
              <a:solidFill>
                <a:schemeClr val="bg1"/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16" name="Content Placeholder 2">
            <a:extLst>
              <a:ext uri="{FF2B5EF4-FFF2-40B4-BE49-F238E27FC236}">
                <a16:creationId xmlns:a16="http://schemas.microsoft.com/office/drawing/2014/main" id="{C2AC9BD8-BCF8-9E98-D729-F79F94D3B1EF}"/>
              </a:ext>
            </a:extLst>
          </p:cNvPr>
          <p:cNvSpPr txBox="1">
            <a:spLocks/>
          </p:cNvSpPr>
          <p:nvPr/>
        </p:nvSpPr>
        <p:spPr>
          <a:xfrm>
            <a:off x="1064864" y="4560465"/>
            <a:ext cx="5191813" cy="923330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None/>
            </a:pP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Create a debt repayment plan </a:t>
            </a:r>
            <a:b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that considers interest rates and </a:t>
            </a:r>
            <a:b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00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balances owed.</a:t>
            </a:r>
          </a:p>
        </p:txBody>
      </p:sp>
    </p:spTree>
    <p:extLst>
      <p:ext uri="{BB962C8B-B14F-4D97-AF65-F5344CB8AC3E}">
        <p14:creationId xmlns:p14="http://schemas.microsoft.com/office/powerpoint/2010/main" val="1636115989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9D2DF8F-C722-0F1E-4DFA-4CD6680859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110879561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78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D2DF8F-C722-0F1E-4DFA-4CD668085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5B5251DC-A223-39F8-9BC2-1BF6A4C8FB47}"/>
              </a:ext>
            </a:extLst>
          </p:cNvPr>
          <p:cNvSpPr/>
          <p:nvPr/>
        </p:nvSpPr>
        <p:spPr>
          <a:xfrm>
            <a:off x="3176" y="3176"/>
            <a:ext cx="12188824" cy="1571624"/>
          </a:xfrm>
          <a:prstGeom prst="rect">
            <a:avLst/>
          </a:prstGeom>
          <a:gradFill>
            <a:gsLst>
              <a:gs pos="19000">
                <a:srgbClr val="6366AB"/>
              </a:gs>
              <a:gs pos="100000">
                <a:srgbClr val="B5317D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49238"/>
            <a:ext cx="10617200" cy="1107996"/>
          </a:xfrm>
          <a:prstGeom prst="rect">
            <a:avLst/>
          </a:prstGeo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b="1" spc="-20" dirty="0">
                <a:solidFill>
                  <a:schemeClr val="bg1"/>
                </a:solidFill>
              </a:rPr>
              <a:t>Benefits of Mortgage Overpayment and Being Mortgage-Free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25ECD36-9DEB-412A-13CF-C6748D51F0F8}"/>
              </a:ext>
            </a:extLst>
          </p:cNvPr>
          <p:cNvSpPr txBox="1">
            <a:spLocks/>
          </p:cNvSpPr>
          <p:nvPr/>
        </p:nvSpPr>
        <p:spPr>
          <a:xfrm>
            <a:off x="696526" y="4407934"/>
            <a:ext cx="2770909" cy="1477328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Reduced financial stress and increased disposable income.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7DA79AE-60A0-F6CE-A636-E9A42B459466}"/>
              </a:ext>
            </a:extLst>
          </p:cNvPr>
          <p:cNvSpPr txBox="1">
            <a:spLocks/>
          </p:cNvSpPr>
          <p:nvPr/>
        </p:nvSpPr>
        <p:spPr>
          <a:xfrm>
            <a:off x="4710545" y="4407934"/>
            <a:ext cx="2770909" cy="1107996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Greater flexibility to invest or save towards other goals.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D8881B4-5FD3-E30C-D6DC-A21F8B3FF37C}"/>
              </a:ext>
            </a:extLst>
          </p:cNvPr>
          <p:cNvSpPr txBox="1">
            <a:spLocks/>
          </p:cNvSpPr>
          <p:nvPr/>
        </p:nvSpPr>
        <p:spPr>
          <a:xfrm>
            <a:off x="8724565" y="4407934"/>
            <a:ext cx="2770909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mproved </a:t>
            </a:r>
            <a:b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credit profile.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60F47FA-C91F-914F-82B3-E0114D5CFC2C}"/>
              </a:ext>
            </a:extLst>
          </p:cNvPr>
          <p:cNvSpPr/>
          <p:nvPr/>
        </p:nvSpPr>
        <p:spPr>
          <a:xfrm>
            <a:off x="1081802" y="2152407"/>
            <a:ext cx="1826088" cy="1826088"/>
          </a:xfrm>
          <a:prstGeom prst="ellipse">
            <a:avLst/>
          </a:prstGeom>
          <a:solidFill>
            <a:srgbClr val="B53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BDCA7F1-E6FF-D7E2-A205-C58EA44CB160}"/>
              </a:ext>
            </a:extLst>
          </p:cNvPr>
          <p:cNvSpPr/>
          <p:nvPr/>
        </p:nvSpPr>
        <p:spPr>
          <a:xfrm>
            <a:off x="9196977" y="2152407"/>
            <a:ext cx="1826088" cy="1826088"/>
          </a:xfrm>
          <a:prstGeom prst="ellipse">
            <a:avLst/>
          </a:prstGeom>
          <a:solidFill>
            <a:srgbClr val="B53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EA7113C-600D-5736-154F-355DFDEC3E8F}"/>
              </a:ext>
            </a:extLst>
          </p:cNvPr>
          <p:cNvSpPr/>
          <p:nvPr/>
        </p:nvSpPr>
        <p:spPr>
          <a:xfrm>
            <a:off x="5182955" y="2152407"/>
            <a:ext cx="1826088" cy="1826088"/>
          </a:xfrm>
          <a:prstGeom prst="ellipse">
            <a:avLst/>
          </a:prstGeom>
          <a:solidFill>
            <a:srgbClr val="B53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pic>
        <p:nvPicPr>
          <p:cNvPr id="20" name="Graphic 19">
            <a:extLst>
              <a:ext uri="{FF2B5EF4-FFF2-40B4-BE49-F238E27FC236}">
                <a16:creationId xmlns:a16="http://schemas.microsoft.com/office/drawing/2014/main" id="{D5890A57-0FA6-C92A-5112-F130D07C7EAC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395971" y="2466577"/>
            <a:ext cx="1197748" cy="1197748"/>
          </a:xfrm>
          <a:prstGeom prst="rect">
            <a:avLst/>
          </a:prstGeom>
        </p:spPr>
      </p:pic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FA7829E-5DF8-0027-058B-598181E4C12E}"/>
              </a:ext>
            </a:extLst>
          </p:cNvPr>
          <p:cNvCxnSpPr>
            <a:cxnSpLocks/>
          </p:cNvCxnSpPr>
          <p:nvPr/>
        </p:nvCxnSpPr>
        <p:spPr>
          <a:xfrm rot="5400000">
            <a:off x="3350326" y="5146599"/>
            <a:ext cx="1477328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A4D15F6-D568-1D7F-F3DF-EC1274DAD61A}"/>
              </a:ext>
            </a:extLst>
          </p:cNvPr>
          <p:cNvCxnSpPr>
            <a:cxnSpLocks/>
          </p:cNvCxnSpPr>
          <p:nvPr/>
        </p:nvCxnSpPr>
        <p:spPr>
          <a:xfrm rot="5400000">
            <a:off x="7364345" y="5146599"/>
            <a:ext cx="1477328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4" name="Graphic 23">
            <a:extLst>
              <a:ext uri="{FF2B5EF4-FFF2-40B4-BE49-F238E27FC236}">
                <a16:creationId xmlns:a16="http://schemas.microsoft.com/office/drawing/2014/main" id="{A78EF6FE-891A-2DF7-7D55-37C469976A8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578207" y="2547659"/>
            <a:ext cx="1035583" cy="1035583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62998829-EA17-87F4-803F-AAB6D5B78662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577393" y="2532821"/>
            <a:ext cx="1065258" cy="1065258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075483408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9D2DF8F-C722-0F1E-4DFA-4CD6680859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642461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2530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D2DF8F-C722-0F1E-4DFA-4CD668085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122" name="Picture 2">
            <a:extLst>
              <a:ext uri="{FF2B5EF4-FFF2-40B4-BE49-F238E27FC236}">
                <a16:creationId xmlns:a16="http://schemas.microsoft.com/office/drawing/2014/main" id="{26B62FF8-8BDA-4632-C20D-59440071FBB9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0" y="3174"/>
            <a:ext cx="4571539" cy="696367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Rectangle 7">
            <a:extLst>
              <a:ext uri="{FF2B5EF4-FFF2-40B4-BE49-F238E27FC236}">
                <a16:creationId xmlns:a16="http://schemas.microsoft.com/office/drawing/2014/main" id="{5B5251DC-A223-39F8-9BC2-1BF6A4C8FB47}"/>
              </a:ext>
            </a:extLst>
          </p:cNvPr>
          <p:cNvSpPr/>
          <p:nvPr/>
        </p:nvSpPr>
        <p:spPr>
          <a:xfrm>
            <a:off x="0" y="3176"/>
            <a:ext cx="4571574" cy="5260587"/>
          </a:xfrm>
          <a:prstGeom prst="rect">
            <a:avLst/>
          </a:prstGeom>
          <a:gradFill>
            <a:gsLst>
              <a:gs pos="0">
                <a:srgbClr val="6366AB">
                  <a:alpha val="0"/>
                </a:srgbClr>
              </a:gs>
              <a:gs pos="100000">
                <a:srgbClr val="B5317D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4BB19CD-6B9E-C753-D54E-56F7275C7F15}"/>
              </a:ext>
            </a:extLst>
          </p:cNvPr>
          <p:cNvSpPr txBox="1">
            <a:spLocks/>
          </p:cNvSpPr>
          <p:nvPr/>
        </p:nvSpPr>
        <p:spPr>
          <a:xfrm>
            <a:off x="5004618" y="472573"/>
            <a:ext cx="648929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400" b="1" dirty="0">
                <a:solidFill>
                  <a:srgbClr val="B531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Using a spreadsheet, model a scenario:</a:t>
            </a:r>
          </a:p>
        </p:txBody>
      </p:sp>
      <p:sp>
        <p:nvSpPr>
          <p:cNvPr id="7" name="Content Placeholder 2">
            <a:extLst>
              <a:ext uri="{FF2B5EF4-FFF2-40B4-BE49-F238E27FC236}">
                <a16:creationId xmlns:a16="http://schemas.microsoft.com/office/drawing/2014/main" id="{914EF07F-7B8A-8836-DB23-1B0646753A7C}"/>
              </a:ext>
            </a:extLst>
          </p:cNvPr>
          <p:cNvSpPr txBox="1">
            <a:spLocks/>
          </p:cNvSpPr>
          <p:nvPr/>
        </p:nvSpPr>
        <p:spPr>
          <a:xfrm>
            <a:off x="6019800" y="1114977"/>
            <a:ext cx="5474109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Mortgage: £200,000 at 3% interest, </a:t>
            </a:r>
            <a:b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</a:b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25 years remaining.</a:t>
            </a:r>
          </a:p>
        </p:txBody>
      </p:sp>
      <p:sp>
        <p:nvSpPr>
          <p:cNvPr id="14" name="Content Placeholder 2">
            <a:extLst>
              <a:ext uri="{FF2B5EF4-FFF2-40B4-BE49-F238E27FC236}">
                <a16:creationId xmlns:a16="http://schemas.microsoft.com/office/drawing/2014/main" id="{B73D2F90-A8E8-68BD-1319-9C8ACC6A9607}"/>
              </a:ext>
            </a:extLst>
          </p:cNvPr>
          <p:cNvSpPr txBox="1">
            <a:spLocks/>
          </p:cNvSpPr>
          <p:nvPr/>
        </p:nvSpPr>
        <p:spPr>
          <a:xfrm>
            <a:off x="6019800" y="2261216"/>
            <a:ext cx="5474109" cy="36933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Regular payment: £950/month.</a:t>
            </a:r>
          </a:p>
        </p:txBody>
      </p:sp>
      <p:sp>
        <p:nvSpPr>
          <p:cNvPr id="15" name="Content Placeholder 2">
            <a:extLst>
              <a:ext uri="{FF2B5EF4-FFF2-40B4-BE49-F238E27FC236}">
                <a16:creationId xmlns:a16="http://schemas.microsoft.com/office/drawing/2014/main" id="{4479710B-5F5B-9B7C-39A9-A09DD8B047A0}"/>
              </a:ext>
            </a:extLst>
          </p:cNvPr>
          <p:cNvSpPr txBox="1">
            <a:spLocks/>
          </p:cNvSpPr>
          <p:nvPr/>
        </p:nvSpPr>
        <p:spPr>
          <a:xfrm>
            <a:off x="6019800" y="3222793"/>
            <a:ext cx="5474109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Overpayment: Additional £200/month.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37A4D955-E6BB-0391-00AE-6590482FC691}"/>
              </a:ext>
            </a:extLst>
          </p:cNvPr>
          <p:cNvSpPr txBox="1">
            <a:spLocks/>
          </p:cNvSpPr>
          <p:nvPr/>
        </p:nvSpPr>
        <p:spPr>
          <a:xfrm>
            <a:off x="5004618" y="4165271"/>
            <a:ext cx="6489291" cy="36933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400" b="1" dirty="0">
                <a:solidFill>
                  <a:srgbClr val="B5317D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Demonstrate: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A205432E-2647-DD9C-872D-D7076526C7BC}"/>
              </a:ext>
            </a:extLst>
          </p:cNvPr>
          <p:cNvSpPr txBox="1">
            <a:spLocks/>
          </p:cNvSpPr>
          <p:nvPr/>
        </p:nvSpPr>
        <p:spPr>
          <a:xfrm>
            <a:off x="6019800" y="4894431"/>
            <a:ext cx="5474109" cy="36933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Interest saved: Approx. £18,000.</a:t>
            </a:r>
          </a:p>
        </p:txBody>
      </p:sp>
      <p:sp>
        <p:nvSpPr>
          <p:cNvPr id="18" name="Content Placeholder 2">
            <a:extLst>
              <a:ext uri="{FF2B5EF4-FFF2-40B4-BE49-F238E27FC236}">
                <a16:creationId xmlns:a16="http://schemas.microsoft.com/office/drawing/2014/main" id="{8CDF6899-0E66-1804-F04D-834DC071DADA}"/>
              </a:ext>
            </a:extLst>
          </p:cNvPr>
          <p:cNvSpPr txBox="1">
            <a:spLocks/>
          </p:cNvSpPr>
          <p:nvPr/>
        </p:nvSpPr>
        <p:spPr>
          <a:xfrm>
            <a:off x="6019800" y="5872998"/>
            <a:ext cx="5811416" cy="369332"/>
          </a:xfrm>
          <a:prstGeom prst="rect">
            <a:avLst/>
          </a:prstGeom>
        </p:spPr>
        <p:txBody>
          <a:bodyPr wrap="square" lIns="0" tIns="0" rIns="0" bIns="0" anchor="ctr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spcBef>
                <a:spcPts val="600"/>
              </a:spcBef>
              <a:spcAft>
                <a:spcPts val="600"/>
              </a:spcAft>
              <a:buNone/>
            </a:pP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Time saved: Reduced term by </a:t>
            </a:r>
            <a:r>
              <a:rPr lang="en-US" sz="2400" dirty="0" smtClean="0">
                <a:latin typeface="Arial" panose="020B0604020202020204" pitchFamily="34" charset="0"/>
                <a:cs typeface="Arial" panose="020B0604020202020204" pitchFamily="34" charset="0"/>
              </a:rPr>
              <a:t>6 1/2 </a:t>
            </a:r>
            <a:r>
              <a:rPr lang="en-US" sz="2400" dirty="0">
                <a:latin typeface="Arial" panose="020B0604020202020204" pitchFamily="34" charset="0"/>
                <a:cs typeface="Arial" panose="020B0604020202020204" pitchFamily="34" charset="0"/>
              </a:rPr>
              <a:t>years.</a:t>
            </a:r>
          </a:p>
        </p:txBody>
      </p:sp>
      <p:sp>
        <p:nvSpPr>
          <p:cNvPr id="9" name="Title 1">
            <a:extLst>
              <a:ext uri="{FF2B5EF4-FFF2-40B4-BE49-F238E27FC236}">
                <a16:creationId xmlns:a16="http://schemas.microsoft.com/office/drawing/2014/main" id="{2F963987-70CA-22F6-A195-4792ED39A625}"/>
              </a:ext>
            </a:extLst>
          </p:cNvPr>
          <p:cNvSpPr txBox="1">
            <a:spLocks/>
          </p:cNvSpPr>
          <p:nvPr/>
        </p:nvSpPr>
        <p:spPr>
          <a:xfrm>
            <a:off x="511277" y="472573"/>
            <a:ext cx="3514623" cy="1661993"/>
          </a:xfrm>
          <a:prstGeom prst="rect">
            <a:avLst/>
          </a:prstGeom>
        </p:spPr>
        <p:txBody>
          <a:bodyPr vert="horz" wrap="square" lIns="0" tIns="0" rIns="0" bIns="0" rtlCol="0" anchor="t">
            <a:noAutofit/>
          </a:bodyPr>
          <a:lstStyle>
            <a:lvl1pPr algn="l" defTabSz="457200" rtl="0" eaLnBrk="1" latinLnBrk="0" hangingPunct="1">
              <a:spcBef>
                <a:spcPct val="0"/>
              </a:spcBef>
              <a:buNone/>
              <a:defRPr sz="3600" kern="1200">
                <a:solidFill>
                  <a:schemeClr val="tx1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en-US" sz="3200" b="1" i="0" u="none" strike="noStrike" kern="1200" baseline="0" dirty="0">
                <a:solidFill>
                  <a:srgbClr val="FFFFFF"/>
                </a:solidFill>
              </a:rPr>
              <a:t>Interactive Example: How Overpayment Works</a:t>
            </a:r>
            <a:endParaRPr lang="en-US" sz="3200" b="1" dirty="0">
              <a:solidFill>
                <a:schemeClr val="bg1"/>
              </a:solidFill>
            </a:endParaRPr>
          </a:p>
        </p:txBody>
      </p:sp>
      <p:cxnSp>
        <p:nvCxnSpPr>
          <p:cNvPr id="16" name="Straight Connector 15">
            <a:extLst>
              <a:ext uri="{FF2B5EF4-FFF2-40B4-BE49-F238E27FC236}">
                <a16:creationId xmlns:a16="http://schemas.microsoft.com/office/drawing/2014/main" id="{5C31A2B9-C794-F568-0040-D4D8DE7B5665}"/>
              </a:ext>
            </a:extLst>
          </p:cNvPr>
          <p:cNvCxnSpPr/>
          <p:nvPr/>
        </p:nvCxnSpPr>
        <p:spPr>
          <a:xfrm>
            <a:off x="5004618" y="1965097"/>
            <a:ext cx="6489291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>
            <a:extLst>
              <a:ext uri="{FF2B5EF4-FFF2-40B4-BE49-F238E27FC236}">
                <a16:creationId xmlns:a16="http://schemas.microsoft.com/office/drawing/2014/main" id="{753A716B-6CFD-9097-6F31-FE283DF20086}"/>
              </a:ext>
            </a:extLst>
          </p:cNvPr>
          <p:cNvCxnSpPr/>
          <p:nvPr/>
        </p:nvCxnSpPr>
        <p:spPr>
          <a:xfrm>
            <a:off x="5004618" y="2926673"/>
            <a:ext cx="6489291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>
            <a:extLst>
              <a:ext uri="{FF2B5EF4-FFF2-40B4-BE49-F238E27FC236}">
                <a16:creationId xmlns:a16="http://schemas.microsoft.com/office/drawing/2014/main" id="{037AE33D-DE24-D126-F935-8F7517B0B5E2}"/>
              </a:ext>
            </a:extLst>
          </p:cNvPr>
          <p:cNvCxnSpPr/>
          <p:nvPr/>
        </p:nvCxnSpPr>
        <p:spPr>
          <a:xfrm>
            <a:off x="5004618" y="5568381"/>
            <a:ext cx="6489291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0" name="Straight Connector 19">
            <a:extLst>
              <a:ext uri="{FF2B5EF4-FFF2-40B4-BE49-F238E27FC236}">
                <a16:creationId xmlns:a16="http://schemas.microsoft.com/office/drawing/2014/main" id="{11A47D3A-8E70-B554-65F2-D6FE25D57C1F}"/>
              </a:ext>
            </a:extLst>
          </p:cNvPr>
          <p:cNvCxnSpPr/>
          <p:nvPr/>
        </p:nvCxnSpPr>
        <p:spPr>
          <a:xfrm>
            <a:off x="5004618" y="3992807"/>
            <a:ext cx="6489291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olid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22" name="Graphic 21">
            <a:extLst>
              <a:ext uri="{FF2B5EF4-FFF2-40B4-BE49-F238E27FC236}">
                <a16:creationId xmlns:a16="http://schemas.microsoft.com/office/drawing/2014/main" id="{CBD7CC3F-7D5B-B649-8182-F3128C2F881C}"/>
              </a:ext>
            </a:extLst>
          </p:cNvPr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8"/>
              </a:ext>
            </a:extLst>
          </a:blip>
          <a:stretch>
            <a:fillRect/>
          </a:stretch>
        </p:blipFill>
        <p:spPr>
          <a:xfrm>
            <a:off x="5082816" y="1147759"/>
            <a:ext cx="673100" cy="673100"/>
          </a:xfrm>
          <a:prstGeom prst="rect">
            <a:avLst/>
          </a:prstGeom>
        </p:spPr>
      </p:pic>
      <p:pic>
        <p:nvPicPr>
          <p:cNvPr id="26" name="Graphic 25">
            <a:extLst>
              <a:ext uri="{FF2B5EF4-FFF2-40B4-BE49-F238E27FC236}">
                <a16:creationId xmlns:a16="http://schemas.microsoft.com/office/drawing/2014/main" id="{C64B6E6C-B91C-0543-23E1-39DB8514A683}"/>
              </a:ext>
            </a:extLst>
          </p:cNvPr>
          <p:cNvPicPr>
            <a:picLocks noChangeAspect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0"/>
              </a:ext>
            </a:extLst>
          </a:blip>
          <a:stretch>
            <a:fillRect/>
          </a:stretch>
        </p:blipFill>
        <p:spPr>
          <a:xfrm>
            <a:off x="5082816" y="2109335"/>
            <a:ext cx="673100" cy="673100"/>
          </a:xfrm>
          <a:prstGeom prst="rect">
            <a:avLst/>
          </a:prstGeom>
        </p:spPr>
      </p:pic>
      <p:pic>
        <p:nvPicPr>
          <p:cNvPr id="28" name="Graphic 27">
            <a:extLst>
              <a:ext uri="{FF2B5EF4-FFF2-40B4-BE49-F238E27FC236}">
                <a16:creationId xmlns:a16="http://schemas.microsoft.com/office/drawing/2014/main" id="{81444DD1-B28D-FE3E-C27F-094E1DA50574}"/>
              </a:ext>
            </a:extLst>
          </p:cNvPr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2"/>
              </a:ext>
            </a:extLst>
          </a:blip>
          <a:stretch>
            <a:fillRect/>
          </a:stretch>
        </p:blipFill>
        <p:spPr>
          <a:xfrm>
            <a:off x="5082816" y="3070909"/>
            <a:ext cx="673100" cy="673100"/>
          </a:xfrm>
          <a:prstGeom prst="rect">
            <a:avLst/>
          </a:prstGeom>
        </p:spPr>
      </p:pic>
      <p:pic>
        <p:nvPicPr>
          <p:cNvPr id="30" name="Graphic 29">
            <a:extLst>
              <a:ext uri="{FF2B5EF4-FFF2-40B4-BE49-F238E27FC236}">
                <a16:creationId xmlns:a16="http://schemas.microsoft.com/office/drawing/2014/main" id="{886622EA-353C-F861-E138-8F28D5400A28}"/>
              </a:ext>
            </a:extLst>
          </p:cNvPr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4"/>
              </a:ext>
            </a:extLst>
          </a:blip>
          <a:stretch>
            <a:fillRect/>
          </a:stretch>
        </p:blipFill>
        <p:spPr>
          <a:xfrm>
            <a:off x="5082816" y="4742548"/>
            <a:ext cx="673100" cy="673100"/>
          </a:xfrm>
          <a:prstGeom prst="rect">
            <a:avLst/>
          </a:prstGeom>
        </p:spPr>
      </p:pic>
      <p:pic>
        <p:nvPicPr>
          <p:cNvPr id="33" name="Graphic 32">
            <a:extLst>
              <a:ext uri="{FF2B5EF4-FFF2-40B4-BE49-F238E27FC236}">
                <a16:creationId xmlns:a16="http://schemas.microsoft.com/office/drawing/2014/main" id="{27199200-6189-D04A-179C-F272558C9B62}"/>
              </a:ext>
            </a:extLst>
          </p:cNvPr>
          <p:cNvPicPr>
            <a:picLocks noChangeAspect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6"/>
              </a:ext>
            </a:extLst>
          </a:blip>
          <a:stretch>
            <a:fillRect/>
          </a:stretch>
        </p:blipFill>
        <p:spPr>
          <a:xfrm>
            <a:off x="5082816" y="5721114"/>
            <a:ext cx="673100" cy="6731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622100994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D9D2DF8F-C722-0F1E-4DFA-4CD6680859DE}"/>
              </a:ext>
            </a:extLst>
          </p:cNvPr>
          <p:cNvGraphicFramePr>
            <a:graphicFrameLocks noChangeAspect="1"/>
          </p:cNvGraphicFramePr>
          <p:nvPr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2520151892"/>
              </p:ext>
            </p:ext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66" name="think-cell Slide" r:id="rId4" imgW="347" imgH="348" progId="TCLayout.ActiveDocument.1">
                  <p:embed/>
                </p:oleObj>
              </mc:Choice>
              <mc:Fallback>
                <p:oleObj name="think-cell Slide" r:id="rId4" imgW="347" imgH="348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D9D2DF8F-C722-0F1E-4DFA-4CD6680859DE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>
            <a:extLst>
              <a:ext uri="{FF2B5EF4-FFF2-40B4-BE49-F238E27FC236}">
                <a16:creationId xmlns:a16="http://schemas.microsoft.com/office/drawing/2014/main" id="{5B5251DC-A223-39F8-9BC2-1BF6A4C8FB47}"/>
              </a:ext>
            </a:extLst>
          </p:cNvPr>
          <p:cNvSpPr/>
          <p:nvPr/>
        </p:nvSpPr>
        <p:spPr>
          <a:xfrm>
            <a:off x="3176" y="3176"/>
            <a:ext cx="12188824" cy="1414462"/>
          </a:xfrm>
          <a:prstGeom prst="rect">
            <a:avLst/>
          </a:prstGeom>
          <a:gradFill>
            <a:gsLst>
              <a:gs pos="19000">
                <a:srgbClr val="6366AB"/>
              </a:gs>
              <a:gs pos="100000">
                <a:srgbClr val="B5317D"/>
              </a:gs>
            </a:gsLst>
          </a:gra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9600" y="249238"/>
            <a:ext cx="11125200" cy="553998"/>
          </a:xfrm>
        </p:spPr>
        <p:txBody>
          <a:bodyPr vert="horz" wrap="square" lIns="0" tIns="0" rIns="0" bIns="0" rtlCol="0" anchor="t">
            <a:spAutoFit/>
          </a:bodyPr>
          <a:lstStyle/>
          <a:p>
            <a:r>
              <a:rPr lang="en-US" b="1" dirty="0">
                <a:solidFill>
                  <a:schemeClr val="bg1"/>
                </a:solidFill>
              </a:rPr>
              <a:t>Why Do I Need a Budget?</a:t>
            </a:r>
          </a:p>
        </p:txBody>
      </p:sp>
      <p:sp>
        <p:nvSpPr>
          <p:cNvPr id="10" name="Content Placeholder 2">
            <a:extLst>
              <a:ext uri="{FF2B5EF4-FFF2-40B4-BE49-F238E27FC236}">
                <a16:creationId xmlns:a16="http://schemas.microsoft.com/office/drawing/2014/main" id="{D25ECD36-9DEB-412A-13CF-C6748D51F0F8}"/>
              </a:ext>
            </a:extLst>
          </p:cNvPr>
          <p:cNvSpPr txBox="1">
            <a:spLocks/>
          </p:cNvSpPr>
          <p:nvPr/>
        </p:nvSpPr>
        <p:spPr>
          <a:xfrm>
            <a:off x="557980" y="4407934"/>
            <a:ext cx="304800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Helps track income and expenses.</a:t>
            </a:r>
          </a:p>
        </p:txBody>
      </p:sp>
      <p:sp>
        <p:nvSpPr>
          <p:cNvPr id="11" name="Content Placeholder 2">
            <a:extLst>
              <a:ext uri="{FF2B5EF4-FFF2-40B4-BE49-F238E27FC236}">
                <a16:creationId xmlns:a16="http://schemas.microsoft.com/office/drawing/2014/main" id="{27DA79AE-60A0-F6CE-A636-E9A42B459466}"/>
              </a:ext>
            </a:extLst>
          </p:cNvPr>
          <p:cNvSpPr txBox="1">
            <a:spLocks/>
          </p:cNvSpPr>
          <p:nvPr/>
        </p:nvSpPr>
        <p:spPr>
          <a:xfrm>
            <a:off x="4571999" y="4407934"/>
            <a:ext cx="3048000" cy="86177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Identifies areas to save or cut back.</a:t>
            </a:r>
          </a:p>
        </p:txBody>
      </p:sp>
      <p:sp>
        <p:nvSpPr>
          <p:cNvPr id="12" name="Content Placeholder 2">
            <a:extLst>
              <a:ext uri="{FF2B5EF4-FFF2-40B4-BE49-F238E27FC236}">
                <a16:creationId xmlns:a16="http://schemas.microsoft.com/office/drawing/2014/main" id="{1D8881B4-5FD3-E30C-D6DC-A21F8B3FF37C}"/>
              </a:ext>
            </a:extLst>
          </p:cNvPr>
          <p:cNvSpPr txBox="1">
            <a:spLocks/>
          </p:cNvSpPr>
          <p:nvPr/>
        </p:nvSpPr>
        <p:spPr>
          <a:xfrm>
            <a:off x="8586019" y="4407934"/>
            <a:ext cx="3048000" cy="1292662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 marL="342900" indent="-3429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3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42950" indent="-28575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143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4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600200" indent="-228600" algn="l" defTabSz="457200" rtl="0" eaLnBrk="1" latinLnBrk="0" hangingPunct="1">
              <a:spcBef>
                <a:spcPct val="20000"/>
              </a:spcBef>
              <a:buFont typeface="Arial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057400" indent="-228600" algn="l" defTabSz="457200" rtl="0" eaLnBrk="1" latinLnBrk="0" hangingPunct="1">
              <a:spcBef>
                <a:spcPct val="20000"/>
              </a:spcBef>
              <a:buFont typeface="Arial"/>
              <a:buChar char="»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5146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457200" rtl="0" eaLnBrk="1" latinLnBrk="0" hangingPunct="1">
              <a:spcBef>
                <a:spcPct val="20000"/>
              </a:spcBef>
              <a:buFont typeface="Arial"/>
              <a:buChar char="•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 algn="ctr">
              <a:buNone/>
            </a:pPr>
            <a:r>
              <a:rPr lang="en-US" sz="2800" dirty="0">
                <a:latin typeface="Arial" panose="020B0604020202020204" pitchFamily="34" charset="0"/>
                <a:cs typeface="Arial" panose="020B0604020202020204" pitchFamily="34" charset="0"/>
              </a:rPr>
              <a:t>Ensures progress towards financial goals.</a:t>
            </a:r>
          </a:p>
        </p:txBody>
      </p:sp>
      <p:sp>
        <p:nvSpPr>
          <p:cNvPr id="13" name="Oval 12">
            <a:extLst>
              <a:ext uri="{FF2B5EF4-FFF2-40B4-BE49-F238E27FC236}">
                <a16:creationId xmlns:a16="http://schemas.microsoft.com/office/drawing/2014/main" id="{C60F47FA-C91F-914F-82B3-E0114D5CFC2C}"/>
              </a:ext>
            </a:extLst>
          </p:cNvPr>
          <p:cNvSpPr/>
          <p:nvPr/>
        </p:nvSpPr>
        <p:spPr>
          <a:xfrm>
            <a:off x="1081802" y="2152407"/>
            <a:ext cx="1826088" cy="1826088"/>
          </a:xfrm>
          <a:prstGeom prst="ellipse">
            <a:avLst/>
          </a:prstGeom>
          <a:solidFill>
            <a:srgbClr val="B53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Oval 13">
            <a:extLst>
              <a:ext uri="{FF2B5EF4-FFF2-40B4-BE49-F238E27FC236}">
                <a16:creationId xmlns:a16="http://schemas.microsoft.com/office/drawing/2014/main" id="{5BDCA7F1-E6FF-D7E2-A205-C58EA44CB160}"/>
              </a:ext>
            </a:extLst>
          </p:cNvPr>
          <p:cNvSpPr/>
          <p:nvPr/>
        </p:nvSpPr>
        <p:spPr>
          <a:xfrm>
            <a:off x="9196977" y="2152407"/>
            <a:ext cx="1826088" cy="1826088"/>
          </a:xfrm>
          <a:prstGeom prst="ellipse">
            <a:avLst/>
          </a:prstGeom>
          <a:solidFill>
            <a:srgbClr val="B53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7" name="Oval 16">
            <a:extLst>
              <a:ext uri="{FF2B5EF4-FFF2-40B4-BE49-F238E27FC236}">
                <a16:creationId xmlns:a16="http://schemas.microsoft.com/office/drawing/2014/main" id="{7EA7113C-600D-5736-154F-355DFDEC3E8F}"/>
              </a:ext>
            </a:extLst>
          </p:cNvPr>
          <p:cNvSpPr/>
          <p:nvPr/>
        </p:nvSpPr>
        <p:spPr>
          <a:xfrm>
            <a:off x="5182955" y="2152407"/>
            <a:ext cx="1826088" cy="1826088"/>
          </a:xfrm>
          <a:prstGeom prst="ellipse">
            <a:avLst/>
          </a:prstGeom>
          <a:solidFill>
            <a:srgbClr val="B5317D"/>
          </a:solidFill>
          <a:ln>
            <a:noFill/>
          </a:ln>
          <a:effectLst/>
        </p:spPr>
        <p:style>
          <a:lnRef idx="1">
            <a:schemeClr val="accent1"/>
          </a:lnRef>
          <a:fillRef idx="3">
            <a:schemeClr val="accent1"/>
          </a:fillRef>
          <a:effectRef idx="2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21" name="Straight Connector 20">
            <a:extLst>
              <a:ext uri="{FF2B5EF4-FFF2-40B4-BE49-F238E27FC236}">
                <a16:creationId xmlns:a16="http://schemas.microsoft.com/office/drawing/2014/main" id="{3FA7829E-5DF8-0027-058B-598181E4C12E}"/>
              </a:ext>
            </a:extLst>
          </p:cNvPr>
          <p:cNvCxnSpPr>
            <a:cxnSpLocks/>
          </p:cNvCxnSpPr>
          <p:nvPr/>
        </p:nvCxnSpPr>
        <p:spPr>
          <a:xfrm rot="5400000">
            <a:off x="3350326" y="5146598"/>
            <a:ext cx="1477329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2" name="Straight Connector 21">
            <a:extLst>
              <a:ext uri="{FF2B5EF4-FFF2-40B4-BE49-F238E27FC236}">
                <a16:creationId xmlns:a16="http://schemas.microsoft.com/office/drawing/2014/main" id="{9A4D15F6-D568-1D7F-F3DF-EC1274DAD61A}"/>
              </a:ext>
            </a:extLst>
          </p:cNvPr>
          <p:cNvCxnSpPr>
            <a:cxnSpLocks/>
          </p:cNvCxnSpPr>
          <p:nvPr/>
        </p:nvCxnSpPr>
        <p:spPr>
          <a:xfrm rot="5400000">
            <a:off x="7364345" y="5146599"/>
            <a:ext cx="1477328" cy="0"/>
          </a:xfrm>
          <a:prstGeom prst="line">
            <a:avLst/>
          </a:prstGeom>
          <a:ln w="9525">
            <a:solidFill>
              <a:schemeClr val="bg1">
                <a:lumMod val="65000"/>
              </a:schemeClr>
            </a:solidFill>
            <a:prstDash val="sysDot"/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4" name="Graphic 3">
            <a:extLst>
              <a:ext uri="{FF2B5EF4-FFF2-40B4-BE49-F238E27FC236}">
                <a16:creationId xmlns:a16="http://schemas.microsoft.com/office/drawing/2014/main" id="{FDE78B85-53E2-2B5A-F3E6-4065AB6511ED}"/>
              </a:ext>
            </a:extLst>
          </p:cNvPr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1440848" y="2511453"/>
            <a:ext cx="1107996" cy="1107996"/>
          </a:xfrm>
          <a:prstGeom prst="rect">
            <a:avLst/>
          </a:prstGeom>
        </p:spPr>
      </p:pic>
      <p:pic>
        <p:nvPicPr>
          <p:cNvPr id="7" name="Graphic 6">
            <a:extLst>
              <a:ext uri="{FF2B5EF4-FFF2-40B4-BE49-F238E27FC236}">
                <a16:creationId xmlns:a16="http://schemas.microsoft.com/office/drawing/2014/main" id="{D8ECF62A-19C3-C562-0F03-FA133FC7A193}"/>
              </a:ext>
            </a:extLst>
          </p:cNvPr>
          <p:cNvPicPr>
            <a:picLocks noChangeAspect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5598703" y="2568156"/>
            <a:ext cx="994591" cy="994591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656E1D50-825B-0C47-F5B4-A57A3130ABC1}"/>
              </a:ext>
            </a:extLst>
          </p:cNvPr>
          <p:cNvPicPr>
            <a:picLocks noChangeAspect="1"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/>
              </a:ext>
              <a:ext uri="{96DAC541-7B7A-43D3-8B79-37D633B846F1}">
                <asvg:svgBlip xmlns=""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9620904" y="2576335"/>
            <a:ext cx="978233" cy="97823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15541467"/>
      </p:ext>
    </p:extLst>
  </p:cSld>
  <p:clrMapOvr>
    <a:masterClrMapping/>
  </p:clrMapOvr>
  <p:timing>
    <p:tnLst>
      <p:par>
        <p:cTn id="1" dur="indefinite" restart="never" nodeType="tmRoot"/>
      </p:par>
    </p:tnLst>
  </p:timing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PRESENTATIONDONOTDELETE" val="&lt;?xml version=&quot;1.0&quot; encoding=&quot;UTF-16&quot; standalone=&quot;yes&quot;?&gt;&lt;root reqver=&quot;28224&quot;&gt;&lt;version val=&quot;35642&quot;/&gt;&lt;CPresentation id=&quot;1&quot;&gt;&lt;m_precDefaultNumber&gt;&lt;m_bNumberIsYear val=&quot;1&quot;/&gt;&lt;m_chMinusSymbol&gt;-&lt;/m_chMinusSymbol&gt;&lt;m_chDecimalSymbol17909&gt;.&lt;/m_chDecimalSymbol17909&gt;&lt;m_nGroupingDigits17909 val=&quot;3&quot;/&gt;&lt;m_chGroupingSymbol17909&gt;,&lt;/m_chGroupingSymbol17909&gt;&lt;m_yearfmt&gt;&lt;begin val=&quot;0&quot;/&gt;&lt;end val=&quot;4&quot;/&gt;&lt;/m_yearfmt&gt;&lt;/m_precDefaultNumber&gt;&lt;m_precDefaultPercent&gt;&lt;m_bNumberIsYear val=&quot;1&quot;/&gt;&lt;m_chMinusSymbol&gt;-&lt;/m_chMinusSymbol&gt;&lt;m_nDecimalDigits17909 val=&quot;0&quot;/&gt;&lt;m_chDecimalSymbol17909&gt;.&lt;/m_chDecimalSymbol17909&gt;&lt;m_nGroupingDigits17909 val=&quot;3&quot;/&gt;&lt;m_chGroupingSymbol17909&gt;,&lt;/m_chGroupingSymbol17909&gt;&lt;m_strSuffix17909&gt;%&lt;/m_strSuffix17909&gt;&lt;m_yearfmt&gt;&lt;begin val=&quot;0&quot;/&gt;&lt;end val=&quot;4&quot;/&gt;&lt;/m_yearfmt&gt;&lt;/m_precDefaultPercent&gt;&lt;m_precDefaultDate&gt;&lt;m_bNumberIsYear val=&quot;0&quot;/&gt;&lt;m_strFormatTime&gt;%#m/%#d/%Y&lt;/m_strFormatTime&gt;&lt;m_yearfmt&gt;&lt;begin val=&quot;0&quot;/&gt;&lt;end val=&quot;0&quot;/&gt;&lt;/m_yearfmt&gt;&lt;/m_precDefaultDate&gt;&lt;m_precDefaultDay&gt;&lt;m_yearfmt&gt;&lt;begin val=&quot;0&quot;/&gt;&lt;end val=&quot;4&quot;/&gt;&lt;/m_yearfmt&gt;&lt;/m_precDefaultDay&gt;&lt;m_precDefaultWeek&gt;&lt;m_yearfmt&gt;&lt;begin val=&quot;0&quot;/&gt;&lt;end val=&quot;4&quot;/&gt;&lt;/m_yearfmt&gt;&lt;/m_precDefaultWeek&gt;&lt;m_precDefaultMonth&gt;&lt;m_yearfmt&gt;&lt;begin val=&quot;0&quot;/&gt;&lt;end val=&quot;4&quot;/&gt;&lt;/m_yearfmt&gt;&lt;/m_precDefaultMonth&gt;&lt;m_precDefaultQuarter&gt;&lt;m_yearfmt&gt;&lt;begin val=&quot;0&quot;/&gt;&lt;end val=&quot;4&quot;/&gt;&lt;/m_yearfmt&gt;&lt;/m_precDefaultQuarter&gt;&lt;m_precDefaultYear&gt;&lt;m_yearfmt&gt;&lt;begin val=&quot;0&quot;/&gt;&lt;end val=&quot;4&quot;/&gt;&lt;/m_yearfmt&gt;&lt;/m_precDefaultYear&gt;&lt;m_precDefaultFYDay&gt;&lt;m_yearfmt&gt;&lt;begin val=&quot;0&quot;/&gt;&lt;end val=&quot;4&quot;/&gt;&lt;/m_yearfmt&gt;&lt;/m_precDefaultFYDay&gt;&lt;m_precDefaultFYWeek&gt;&lt;m_yearfmt&gt;&lt;begin val=&quot;0&quot;/&gt;&lt;end val=&quot;4&quot;/&gt;&lt;/m_yearfmt&gt;&lt;/m_precDefaultFYWeek&gt;&lt;m_precDefaultFYMonth&gt;&lt;m_yearfmt&gt;&lt;begin val=&quot;0&quot;/&gt;&lt;end val=&quot;4&quot;/&gt;&lt;/m_yearfmt&gt;&lt;/m_precDefaultFYMonth&gt;&lt;m_precDefaultFYQuarter&gt;&lt;m_yearfmt&gt;&lt;begin val=&quot;0&quot;/&gt;&lt;end val=&quot;4&quot;/&gt;&lt;/m_yearfmt&gt;&lt;/m_precDefaultFYQuarter&gt;&lt;m_precDefaultFYYear&gt;&lt;m_yearfmt&gt;&lt;begin val=&quot;0&quot;/&gt;&lt;end val=&quot;4&quot;/&gt;&lt;/m_yearfmt&gt;&lt;/m_precDefaultFYYear&gt;&lt;m_mruColor&gt;&lt;m_vecMRU length=&quot;3&quot;&gt;&lt;elem m_fUsage=&quot;1.00000000000000000000E+00&quot;&gt;&lt;m_msothmcolidx val=&quot;0&quot;/&gt;&lt;m_rgb r=&quot;CB&quot; g=&quot;91&quot; b=&quot;BB&quot;/&gt;&lt;/elem&gt;&lt;elem m_fUsage=&quot;9.00000000000000022204E-01&quot;&gt;&lt;m_msothmcolidx val=&quot;0&quot;/&gt;&lt;m_rgb r=&quot;63&quot; g=&quot;66&quot; b=&quot;AB&quot;/&gt;&lt;/elem&gt;&lt;elem m_fUsage=&quot;8.10000000000000053291E-01&quot;&gt;&lt;m_msothmcolidx val=&quot;0&quot;/&gt;&lt;m_rgb r=&quot;B5&quot; g=&quot;31&quot; b=&quot;7D&quot;/&gt;&lt;/elem&gt;&lt;/m_vecMRU&gt;&lt;/m_mruColor&gt;&lt;m_eweekdayFirstOfWeek val=&quot;2&quot;/&gt;&lt;m_eweekdayFirstOfWorkweek val=&quot;2&quot;/&gt;&lt;m_eweekdayFirstOfWeekend val=&quot;7&quot;/&gt;&lt;/CPresentation&gt;&lt;/root&gt;"/>
  <p:tag name="EE4P_STYLE_ID" val="6cd991bf-f022-4378-96e7-2c338aeb3f5a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docProps/app.xml><?xml version="1.0" encoding="utf-8"?>
<Properties xmlns="http://schemas.openxmlformats.org/officeDocument/2006/extended-properties" xmlns:vt="http://schemas.openxmlformats.org/officeDocument/2006/docPropsVTypes">
  <TotalTime>1417</TotalTime>
  <Words>742</Words>
  <Application>Microsoft Office PowerPoint</Application>
  <PresentationFormat>Widescreen</PresentationFormat>
  <Paragraphs>103</Paragraphs>
  <Slides>20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20</vt:i4>
      </vt:variant>
    </vt:vector>
  </HeadingPairs>
  <TitlesOfParts>
    <vt:vector size="28" baseType="lpstr">
      <vt:lpstr>맑은 고딕</vt:lpstr>
      <vt:lpstr>Arial</vt:lpstr>
      <vt:lpstr>Calibri</vt:lpstr>
      <vt:lpstr>Roboto</vt:lpstr>
      <vt:lpstr>Ubuntu</vt:lpstr>
      <vt:lpstr>Wingdings</vt:lpstr>
      <vt:lpstr>Office Theme</vt:lpstr>
      <vt:lpstr>think-cell Slide</vt:lpstr>
      <vt:lpstr>FINANCIAL MASTERCLASS Empowering You to Take Control of Your Finances</vt:lpstr>
      <vt:lpstr>Introduction and Plan for the evening</vt:lpstr>
      <vt:lpstr>How realistic is being Mortgage Free?</vt:lpstr>
      <vt:lpstr>What is Mortgage Overpayment?</vt:lpstr>
      <vt:lpstr>Pros and Cons of Mortgage Overpayment</vt:lpstr>
      <vt:lpstr>PowerPoint Presentation</vt:lpstr>
      <vt:lpstr>Benefits of Mortgage Overpayment and Being Mortgage-Free</vt:lpstr>
      <vt:lpstr>PowerPoint Presentation</vt:lpstr>
      <vt:lpstr>Why Do I Need a Budget?</vt:lpstr>
      <vt:lpstr>Why Budget as a Family, Not Individually?</vt:lpstr>
      <vt:lpstr>PowerPoint Presentation</vt:lpstr>
      <vt:lpstr>How to Create a Budget That Actually Works  (50/30/20 Rule)</vt:lpstr>
      <vt:lpstr>Example Budget Plan (£60k Joint Net Income)</vt:lpstr>
      <vt:lpstr>Why Do We Need to Save?</vt:lpstr>
      <vt:lpstr>Making Saving a Habit, Not a Task</vt:lpstr>
      <vt:lpstr>PowerPoint Presentation</vt:lpstr>
      <vt:lpstr>Compound Interest:  A Powerful Ally </vt:lpstr>
      <vt:lpstr>Example: Comparison of Two Savers</vt:lpstr>
      <vt:lpstr>Key Takeaways</vt:lpstr>
      <vt:lpstr>Next Steps</vt:lpstr>
    </vt:vector>
  </TitlesOfParts>
  <Manager/>
  <Company/>
  <LinksUpToDate>false</LinksUpToDate>
  <SharedDoc>false</SharedDoc>
  <HyperlinkBase/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Financial Masterclass</dc:title>
  <dc:subject/>
  <dc:creator>Dotun Olaleye</dc:creator>
  <cp:keywords/>
  <dc:description>generated using python-pptx</dc:description>
  <cp:lastModifiedBy>Dotun Olaleye</cp:lastModifiedBy>
  <cp:revision>43</cp:revision>
  <dcterms:created xsi:type="dcterms:W3CDTF">2013-01-27T09:14:16Z</dcterms:created>
  <dcterms:modified xsi:type="dcterms:W3CDTF">2025-06-01T01:54:43Z</dcterms:modified>
  <cp:category/>
</cp:coreProperties>
</file>